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</p:sldMasterIdLst>
  <p:notesMasterIdLst>
    <p:notesMasterId r:id="rId42"/>
  </p:notesMasterIdLst>
  <p:sldIdLst>
    <p:sldId id="1722" r:id="rId4"/>
    <p:sldId id="4642" r:id="rId5"/>
    <p:sldId id="1731" r:id="rId6"/>
    <p:sldId id="1635" r:id="rId7"/>
    <p:sldId id="2260" r:id="rId8"/>
    <p:sldId id="4791" r:id="rId9"/>
    <p:sldId id="2244" r:id="rId10"/>
    <p:sldId id="4792" r:id="rId11"/>
    <p:sldId id="4631" r:id="rId12"/>
    <p:sldId id="1726" r:id="rId13"/>
    <p:sldId id="4627" r:id="rId14"/>
    <p:sldId id="1728" r:id="rId15"/>
    <p:sldId id="4793" r:id="rId16"/>
    <p:sldId id="4794" r:id="rId17"/>
    <p:sldId id="2265" r:id="rId18"/>
    <p:sldId id="2263" r:id="rId19"/>
    <p:sldId id="4671" r:id="rId20"/>
    <p:sldId id="2272" r:id="rId21"/>
    <p:sldId id="2274" r:id="rId22"/>
    <p:sldId id="2276" r:id="rId23"/>
    <p:sldId id="4643" r:id="rId24"/>
    <p:sldId id="4795" r:id="rId25"/>
    <p:sldId id="4796" r:id="rId26"/>
    <p:sldId id="4797" r:id="rId27"/>
    <p:sldId id="4798" r:id="rId28"/>
    <p:sldId id="4799" r:id="rId29"/>
    <p:sldId id="4800" r:id="rId30"/>
    <p:sldId id="4801" r:id="rId31"/>
    <p:sldId id="4802" r:id="rId32"/>
    <p:sldId id="4803" r:id="rId33"/>
    <p:sldId id="1171" r:id="rId34"/>
    <p:sldId id="1483" r:id="rId35"/>
    <p:sldId id="2388" r:id="rId36"/>
    <p:sldId id="4694" r:id="rId37"/>
    <p:sldId id="4695" r:id="rId38"/>
    <p:sldId id="4589" r:id="rId39"/>
    <p:sldId id="1480" r:id="rId40"/>
    <p:sldId id="4696" r:id="rId41"/>
  </p:sldIdLst>
  <p:sldSz cx="12192000" cy="6858000"/>
  <p:notesSz cx="6858000" cy="9144000"/>
  <p:embeddedFontLst>
    <p:embeddedFont>
      <p:font typeface="Calibri" panose="020F0502020204030204" pitchFamily="34" charset="0"/>
      <p:regular r:id="rId43"/>
      <p:bold r:id="rId44"/>
      <p:italic r:id="rId45"/>
      <p:boldItalic r:id="rId46"/>
    </p:embeddedFont>
    <p:embeddedFont>
      <p:font typeface="Calibri Light" panose="020F0302020204030204" pitchFamily="34" charset="0"/>
      <p:regular r:id="rId47"/>
      <p:italic r:id="rId48"/>
    </p:embeddedFont>
  </p:embeddedFontLst>
  <p:custDataLst>
    <p:tags r:id="rId49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00FF"/>
    <a:srgbClr val="00FF00"/>
    <a:srgbClr val="0000FF"/>
    <a:srgbClr val="000000"/>
    <a:srgbClr val="F3D9DC"/>
    <a:srgbClr val="EFCCCF"/>
    <a:srgbClr val="FFFFFF"/>
    <a:srgbClr val="F7E7E9"/>
    <a:srgbClr val="B0C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96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294" y="102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1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notesMaster" Target="notesMasters/notesMaster1.xml"/><Relationship Id="rId47" Type="http://schemas.openxmlformats.org/officeDocument/2006/relationships/font" Target="fonts/font5.fntdata"/><Relationship Id="rId50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font" Target="fonts/font3.fntdata"/><Relationship Id="rId53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font" Target="fonts/font2.fntdata"/><Relationship Id="rId52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font" Target="fonts/font1.fntdata"/><Relationship Id="rId48" Type="http://schemas.openxmlformats.org/officeDocument/2006/relationships/font" Target="fonts/font6.fntdata"/><Relationship Id="rId8" Type="http://schemas.openxmlformats.org/officeDocument/2006/relationships/slide" Target="slides/slide5.xml"/><Relationship Id="rId51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font" Target="fonts/font4.fntdata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K$1:$OT$1</c:f>
              <c:strCache>
                <c:ptCount val="400"/>
                <c:pt idx="0">
                  <c:v>29.XII.20</c:v>
                </c:pt>
                <c:pt idx="1">
                  <c:v>30.XII.20</c:v>
                </c:pt>
                <c:pt idx="2">
                  <c:v>31.XII.20</c:v>
                </c:pt>
                <c:pt idx="3">
                  <c:v>1.I.21</c:v>
                </c:pt>
                <c:pt idx="4">
                  <c:v>2.I.21</c:v>
                </c:pt>
                <c:pt idx="5">
                  <c:v>3.I.21</c:v>
                </c:pt>
                <c:pt idx="6">
                  <c:v>4.I.21</c:v>
                </c:pt>
                <c:pt idx="7">
                  <c:v>5.I.21</c:v>
                </c:pt>
                <c:pt idx="8">
                  <c:v>6.I.21</c:v>
                </c:pt>
                <c:pt idx="9">
                  <c:v>7.I.21</c:v>
                </c:pt>
                <c:pt idx="10">
                  <c:v>8.I.21</c:v>
                </c:pt>
                <c:pt idx="11">
                  <c:v>9.I.21</c:v>
                </c:pt>
                <c:pt idx="12">
                  <c:v>10.I.21</c:v>
                </c:pt>
                <c:pt idx="13">
                  <c:v>11.I.21</c:v>
                </c:pt>
                <c:pt idx="14">
                  <c:v>12.I.21</c:v>
                </c:pt>
                <c:pt idx="15">
                  <c:v>13.I.21</c:v>
                </c:pt>
                <c:pt idx="16">
                  <c:v>14.I.21</c:v>
                </c:pt>
                <c:pt idx="17">
                  <c:v>15.I.21</c:v>
                </c:pt>
                <c:pt idx="18">
                  <c:v>16.I.21</c:v>
                </c:pt>
                <c:pt idx="19">
                  <c:v>17.I.21</c:v>
                </c:pt>
                <c:pt idx="20">
                  <c:v>18.I.21</c:v>
                </c:pt>
                <c:pt idx="21">
                  <c:v>19.I.21</c:v>
                </c:pt>
                <c:pt idx="22">
                  <c:v>20.I.21</c:v>
                </c:pt>
                <c:pt idx="23">
                  <c:v>21.I.21</c:v>
                </c:pt>
                <c:pt idx="24">
                  <c:v>22.I.21</c:v>
                </c:pt>
                <c:pt idx="25">
                  <c:v>23.I.21</c:v>
                </c:pt>
                <c:pt idx="26">
                  <c:v>24.I.21</c:v>
                </c:pt>
                <c:pt idx="27">
                  <c:v>25.I.21</c:v>
                </c:pt>
                <c:pt idx="28">
                  <c:v>26.I.21</c:v>
                </c:pt>
                <c:pt idx="29">
                  <c:v>27.I.21</c:v>
                </c:pt>
                <c:pt idx="30">
                  <c:v>28.I.21</c:v>
                </c:pt>
                <c:pt idx="31">
                  <c:v>29.I.21</c:v>
                </c:pt>
                <c:pt idx="32">
                  <c:v>30.I.21</c:v>
                </c:pt>
                <c:pt idx="33">
                  <c:v>31.I.21</c:v>
                </c:pt>
                <c:pt idx="34">
                  <c:v>1.II.21</c:v>
                </c:pt>
                <c:pt idx="35">
                  <c:v>2.II.21</c:v>
                </c:pt>
                <c:pt idx="36">
                  <c:v>3.II.21</c:v>
                </c:pt>
                <c:pt idx="37">
                  <c:v>4.II.21</c:v>
                </c:pt>
                <c:pt idx="38">
                  <c:v>5.II.21</c:v>
                </c:pt>
                <c:pt idx="39">
                  <c:v>6.II.21</c:v>
                </c:pt>
                <c:pt idx="40">
                  <c:v>7.II.21</c:v>
                </c:pt>
                <c:pt idx="41">
                  <c:v>8.II.21</c:v>
                </c:pt>
                <c:pt idx="42">
                  <c:v>9.II.21</c:v>
                </c:pt>
                <c:pt idx="43">
                  <c:v>10.II.21</c:v>
                </c:pt>
                <c:pt idx="44">
                  <c:v>11.II.21</c:v>
                </c:pt>
                <c:pt idx="45">
                  <c:v>12.II.21</c:v>
                </c:pt>
                <c:pt idx="46">
                  <c:v>13.II.21</c:v>
                </c:pt>
                <c:pt idx="47">
                  <c:v>14.II.21</c:v>
                </c:pt>
                <c:pt idx="48">
                  <c:v>15.II.21</c:v>
                </c:pt>
                <c:pt idx="49">
                  <c:v>16.II.21</c:v>
                </c:pt>
                <c:pt idx="50">
                  <c:v>17.II.21</c:v>
                </c:pt>
                <c:pt idx="51">
                  <c:v>18.II.21</c:v>
                </c:pt>
                <c:pt idx="52">
                  <c:v>19.II.21</c:v>
                </c:pt>
                <c:pt idx="53">
                  <c:v>20.II.21</c:v>
                </c:pt>
                <c:pt idx="54">
                  <c:v>21.II.21</c:v>
                </c:pt>
                <c:pt idx="55">
                  <c:v>22.II.21</c:v>
                </c:pt>
                <c:pt idx="56">
                  <c:v>23.II.21</c:v>
                </c:pt>
                <c:pt idx="57">
                  <c:v>24.II.21</c:v>
                </c:pt>
                <c:pt idx="58">
                  <c:v>25.II.21</c:v>
                </c:pt>
                <c:pt idx="59">
                  <c:v>26.II.21</c:v>
                </c:pt>
                <c:pt idx="60">
                  <c:v>27.II.21</c:v>
                </c:pt>
                <c:pt idx="61">
                  <c:v>28.II.21</c:v>
                </c:pt>
                <c:pt idx="62">
                  <c:v>1.III.21</c:v>
                </c:pt>
                <c:pt idx="63">
                  <c:v>2.III.21</c:v>
                </c:pt>
                <c:pt idx="64">
                  <c:v>3.III.21</c:v>
                </c:pt>
                <c:pt idx="65">
                  <c:v>4.III.21</c:v>
                </c:pt>
                <c:pt idx="66">
                  <c:v>5.III.21</c:v>
                </c:pt>
                <c:pt idx="67">
                  <c:v>6.III.21</c:v>
                </c:pt>
                <c:pt idx="68">
                  <c:v>7.III.21</c:v>
                </c:pt>
                <c:pt idx="69">
                  <c:v>8.III.21</c:v>
                </c:pt>
                <c:pt idx="70">
                  <c:v>9.III.21</c:v>
                </c:pt>
                <c:pt idx="71">
                  <c:v>10.III.21</c:v>
                </c:pt>
                <c:pt idx="72">
                  <c:v>11.III.21</c:v>
                </c:pt>
                <c:pt idx="73">
                  <c:v>12.III.21</c:v>
                </c:pt>
                <c:pt idx="74">
                  <c:v>13.III.21</c:v>
                </c:pt>
                <c:pt idx="75">
                  <c:v>14.III.21</c:v>
                </c:pt>
                <c:pt idx="76">
                  <c:v>15.III.21</c:v>
                </c:pt>
                <c:pt idx="77">
                  <c:v>16.III.21</c:v>
                </c:pt>
                <c:pt idx="78">
                  <c:v>17.III.21</c:v>
                </c:pt>
                <c:pt idx="79">
                  <c:v>18.III.21</c:v>
                </c:pt>
                <c:pt idx="80">
                  <c:v>19.III.21</c:v>
                </c:pt>
                <c:pt idx="81">
                  <c:v>20.III.21</c:v>
                </c:pt>
                <c:pt idx="82">
                  <c:v>21.III.21</c:v>
                </c:pt>
                <c:pt idx="83">
                  <c:v>22.III.21</c:v>
                </c:pt>
                <c:pt idx="84">
                  <c:v>23.III.21</c:v>
                </c:pt>
                <c:pt idx="85">
                  <c:v>24.III.21</c:v>
                </c:pt>
                <c:pt idx="86">
                  <c:v>25.III.21</c:v>
                </c:pt>
                <c:pt idx="87">
                  <c:v>26.III.21</c:v>
                </c:pt>
                <c:pt idx="88">
                  <c:v>27.III.21</c:v>
                </c:pt>
                <c:pt idx="89">
                  <c:v>28.III.21</c:v>
                </c:pt>
                <c:pt idx="90">
                  <c:v>29.III.21</c:v>
                </c:pt>
                <c:pt idx="91">
                  <c:v>30.III.21</c:v>
                </c:pt>
                <c:pt idx="92">
                  <c:v>31.III.21</c:v>
                </c:pt>
                <c:pt idx="93">
                  <c:v>1.IV.21</c:v>
                </c:pt>
                <c:pt idx="94">
                  <c:v>2.IV.21</c:v>
                </c:pt>
                <c:pt idx="95">
                  <c:v>3.IV.21</c:v>
                </c:pt>
                <c:pt idx="96">
                  <c:v>4.IV.21</c:v>
                </c:pt>
                <c:pt idx="97">
                  <c:v>5.IV.21</c:v>
                </c:pt>
                <c:pt idx="98">
                  <c:v>6.IV.21</c:v>
                </c:pt>
                <c:pt idx="99">
                  <c:v>7.IV.21</c:v>
                </c:pt>
                <c:pt idx="100">
                  <c:v>8.IV.21</c:v>
                </c:pt>
                <c:pt idx="101">
                  <c:v>9.IV.21</c:v>
                </c:pt>
                <c:pt idx="102">
                  <c:v>10.IV.21</c:v>
                </c:pt>
                <c:pt idx="103">
                  <c:v>11.IV.21</c:v>
                </c:pt>
                <c:pt idx="104">
                  <c:v>12.IV.21</c:v>
                </c:pt>
                <c:pt idx="105">
                  <c:v>13.IV.21</c:v>
                </c:pt>
                <c:pt idx="106">
                  <c:v>14.IV.21</c:v>
                </c:pt>
                <c:pt idx="107">
                  <c:v>15.IV.21</c:v>
                </c:pt>
                <c:pt idx="108">
                  <c:v>16.IV.21</c:v>
                </c:pt>
                <c:pt idx="109">
                  <c:v>17.IV.21</c:v>
                </c:pt>
                <c:pt idx="110">
                  <c:v>18.IV.21</c:v>
                </c:pt>
                <c:pt idx="111">
                  <c:v>19.IV.21</c:v>
                </c:pt>
                <c:pt idx="112">
                  <c:v>20.IV.21</c:v>
                </c:pt>
                <c:pt idx="113">
                  <c:v>21.IV.21</c:v>
                </c:pt>
                <c:pt idx="114">
                  <c:v>22.IV.21</c:v>
                </c:pt>
                <c:pt idx="115">
                  <c:v>23.IV.21</c:v>
                </c:pt>
                <c:pt idx="116">
                  <c:v>24.IV.21</c:v>
                </c:pt>
                <c:pt idx="117">
                  <c:v>25.IV.21</c:v>
                </c:pt>
                <c:pt idx="118">
                  <c:v>26.IV.21</c:v>
                </c:pt>
                <c:pt idx="119">
                  <c:v>27.IV.21</c:v>
                </c:pt>
                <c:pt idx="120">
                  <c:v>28.IV.21</c:v>
                </c:pt>
                <c:pt idx="121">
                  <c:v>29.IV.21</c:v>
                </c:pt>
                <c:pt idx="122">
                  <c:v>30.IV.21</c:v>
                </c:pt>
                <c:pt idx="123">
                  <c:v>1.V.21</c:v>
                </c:pt>
                <c:pt idx="124">
                  <c:v>2.V.21</c:v>
                </c:pt>
                <c:pt idx="125">
                  <c:v>3.V.21</c:v>
                </c:pt>
                <c:pt idx="126">
                  <c:v>4.V.21</c:v>
                </c:pt>
                <c:pt idx="127">
                  <c:v>5.V.21</c:v>
                </c:pt>
                <c:pt idx="128">
                  <c:v>6.V.21</c:v>
                </c:pt>
                <c:pt idx="129">
                  <c:v>7.V.21</c:v>
                </c:pt>
                <c:pt idx="130">
                  <c:v>8.V.21</c:v>
                </c:pt>
                <c:pt idx="131">
                  <c:v>9.V.21</c:v>
                </c:pt>
                <c:pt idx="132">
                  <c:v>10.V.21</c:v>
                </c:pt>
                <c:pt idx="133">
                  <c:v>11.V.21</c:v>
                </c:pt>
                <c:pt idx="134">
                  <c:v>12.V.21</c:v>
                </c:pt>
                <c:pt idx="135">
                  <c:v>13.V.21</c:v>
                </c:pt>
                <c:pt idx="136">
                  <c:v>14.V.21</c:v>
                </c:pt>
                <c:pt idx="137">
                  <c:v>15.V.21</c:v>
                </c:pt>
                <c:pt idx="138">
                  <c:v>16.V.21</c:v>
                </c:pt>
                <c:pt idx="139">
                  <c:v>17.V.21</c:v>
                </c:pt>
                <c:pt idx="140">
                  <c:v>18.V.21</c:v>
                </c:pt>
                <c:pt idx="141">
                  <c:v>19.V.21</c:v>
                </c:pt>
                <c:pt idx="142">
                  <c:v>20.V.21</c:v>
                </c:pt>
                <c:pt idx="143">
                  <c:v>21.V.21</c:v>
                </c:pt>
                <c:pt idx="144">
                  <c:v>22.V.21</c:v>
                </c:pt>
                <c:pt idx="145">
                  <c:v>23.V.21</c:v>
                </c:pt>
                <c:pt idx="146">
                  <c:v>24.V.21</c:v>
                </c:pt>
                <c:pt idx="147">
                  <c:v>25.V.21</c:v>
                </c:pt>
                <c:pt idx="148">
                  <c:v>26.V.21</c:v>
                </c:pt>
                <c:pt idx="149">
                  <c:v>27.V.21</c:v>
                </c:pt>
                <c:pt idx="150">
                  <c:v>28.V.21</c:v>
                </c:pt>
                <c:pt idx="151">
                  <c:v>29.V.21</c:v>
                </c:pt>
                <c:pt idx="152">
                  <c:v>30.V.21</c:v>
                </c:pt>
                <c:pt idx="153">
                  <c:v>31.V.21</c:v>
                </c:pt>
                <c:pt idx="154">
                  <c:v>1.VI.21</c:v>
                </c:pt>
                <c:pt idx="155">
                  <c:v>2.VI.21</c:v>
                </c:pt>
                <c:pt idx="156">
                  <c:v>3.VI.21</c:v>
                </c:pt>
                <c:pt idx="157">
                  <c:v>4.VI.21</c:v>
                </c:pt>
                <c:pt idx="158">
                  <c:v>5.VI.21</c:v>
                </c:pt>
                <c:pt idx="159">
                  <c:v>6.VI.21</c:v>
                </c:pt>
                <c:pt idx="160">
                  <c:v>7.VI.21</c:v>
                </c:pt>
                <c:pt idx="161">
                  <c:v>8.VI.21</c:v>
                </c:pt>
                <c:pt idx="162">
                  <c:v>9.VI.21</c:v>
                </c:pt>
                <c:pt idx="163">
                  <c:v>10.VI.21</c:v>
                </c:pt>
                <c:pt idx="164">
                  <c:v>11.VI.21</c:v>
                </c:pt>
                <c:pt idx="165">
                  <c:v>12.VI.21</c:v>
                </c:pt>
                <c:pt idx="166">
                  <c:v>13.VI.21</c:v>
                </c:pt>
                <c:pt idx="167">
                  <c:v>14.VI.21</c:v>
                </c:pt>
                <c:pt idx="168">
                  <c:v>15.VI.21</c:v>
                </c:pt>
                <c:pt idx="169">
                  <c:v>16.VI.21</c:v>
                </c:pt>
                <c:pt idx="170">
                  <c:v>17.VI.21</c:v>
                </c:pt>
                <c:pt idx="171">
                  <c:v>18.VI.21</c:v>
                </c:pt>
                <c:pt idx="172">
                  <c:v>19.VI.21</c:v>
                </c:pt>
                <c:pt idx="173">
                  <c:v>20.VI.21</c:v>
                </c:pt>
                <c:pt idx="174">
                  <c:v>21.VI.21</c:v>
                </c:pt>
                <c:pt idx="175">
                  <c:v>22.VI.21</c:v>
                </c:pt>
                <c:pt idx="176">
                  <c:v>23.VI.21</c:v>
                </c:pt>
                <c:pt idx="177">
                  <c:v>24.VI.21</c:v>
                </c:pt>
                <c:pt idx="178">
                  <c:v>25.VI.21</c:v>
                </c:pt>
                <c:pt idx="179">
                  <c:v>26.VI.21</c:v>
                </c:pt>
                <c:pt idx="180">
                  <c:v>27.VI.21</c:v>
                </c:pt>
                <c:pt idx="181">
                  <c:v>28.VI.21</c:v>
                </c:pt>
                <c:pt idx="182">
                  <c:v>29.VI.21</c:v>
                </c:pt>
                <c:pt idx="183">
                  <c:v>30.VI.21</c:v>
                </c:pt>
                <c:pt idx="184">
                  <c:v>1.VII.21</c:v>
                </c:pt>
                <c:pt idx="185">
                  <c:v>2.VII.21</c:v>
                </c:pt>
                <c:pt idx="186">
                  <c:v>3.VII.21</c:v>
                </c:pt>
                <c:pt idx="187">
                  <c:v>4.VII.21</c:v>
                </c:pt>
                <c:pt idx="188">
                  <c:v>5.VII.21</c:v>
                </c:pt>
                <c:pt idx="189">
                  <c:v>6.VII.21</c:v>
                </c:pt>
                <c:pt idx="190">
                  <c:v>7.VII.21</c:v>
                </c:pt>
                <c:pt idx="191">
                  <c:v>8.VII.21</c:v>
                </c:pt>
                <c:pt idx="192">
                  <c:v>9.VII.21</c:v>
                </c:pt>
                <c:pt idx="193">
                  <c:v>10.VII.21</c:v>
                </c:pt>
                <c:pt idx="194">
                  <c:v>11.VII.21</c:v>
                </c:pt>
                <c:pt idx="195">
                  <c:v>12.VII.21</c:v>
                </c:pt>
                <c:pt idx="196">
                  <c:v>13.VII.21</c:v>
                </c:pt>
                <c:pt idx="197">
                  <c:v>14.VII.21</c:v>
                </c:pt>
                <c:pt idx="198">
                  <c:v>15.VII.21</c:v>
                </c:pt>
                <c:pt idx="199">
                  <c:v>16.VII.21</c:v>
                </c:pt>
                <c:pt idx="200">
                  <c:v>17.VII.21</c:v>
                </c:pt>
                <c:pt idx="201">
                  <c:v>18.VII.21</c:v>
                </c:pt>
                <c:pt idx="202">
                  <c:v>19.VII.21</c:v>
                </c:pt>
                <c:pt idx="203">
                  <c:v>20.VII.21</c:v>
                </c:pt>
                <c:pt idx="204">
                  <c:v>21.VII.21</c:v>
                </c:pt>
                <c:pt idx="205">
                  <c:v>22.VII.21</c:v>
                </c:pt>
                <c:pt idx="206">
                  <c:v>23.VII.21</c:v>
                </c:pt>
                <c:pt idx="207">
                  <c:v>24.VII.21</c:v>
                </c:pt>
                <c:pt idx="208">
                  <c:v>25.VII.21</c:v>
                </c:pt>
                <c:pt idx="209">
                  <c:v>26.VII.21</c:v>
                </c:pt>
                <c:pt idx="210">
                  <c:v>27.VII.21</c:v>
                </c:pt>
                <c:pt idx="211">
                  <c:v>28.VII.21</c:v>
                </c:pt>
                <c:pt idx="212">
                  <c:v>29.VII.21</c:v>
                </c:pt>
                <c:pt idx="213">
                  <c:v>30.VII.21</c:v>
                </c:pt>
                <c:pt idx="214">
                  <c:v>31.VII.21</c:v>
                </c:pt>
                <c:pt idx="215">
                  <c:v>1.VIII.21</c:v>
                </c:pt>
                <c:pt idx="216">
                  <c:v>2.VIII.21</c:v>
                </c:pt>
                <c:pt idx="217">
                  <c:v>3.VIII.21</c:v>
                </c:pt>
                <c:pt idx="218">
                  <c:v>4.VIII.21</c:v>
                </c:pt>
                <c:pt idx="219">
                  <c:v>5.VIII.21</c:v>
                </c:pt>
                <c:pt idx="220">
                  <c:v>6.VIII.21</c:v>
                </c:pt>
                <c:pt idx="221">
                  <c:v>7.VIII.21</c:v>
                </c:pt>
                <c:pt idx="222">
                  <c:v>8.VIII.21</c:v>
                </c:pt>
                <c:pt idx="223">
                  <c:v>9.VIII.21</c:v>
                </c:pt>
                <c:pt idx="224">
                  <c:v>10.VIII.21</c:v>
                </c:pt>
                <c:pt idx="225">
                  <c:v>11.VIII.21</c:v>
                </c:pt>
                <c:pt idx="226">
                  <c:v>12.VIII.21</c:v>
                </c:pt>
                <c:pt idx="227">
                  <c:v>13.VIII.21</c:v>
                </c:pt>
                <c:pt idx="228">
                  <c:v>14.VIII.21</c:v>
                </c:pt>
                <c:pt idx="229">
                  <c:v>15.VIII.21</c:v>
                </c:pt>
                <c:pt idx="230">
                  <c:v>16.VIII.21</c:v>
                </c:pt>
                <c:pt idx="231">
                  <c:v>17.VIII.21</c:v>
                </c:pt>
                <c:pt idx="232">
                  <c:v>18.VIII.21</c:v>
                </c:pt>
                <c:pt idx="233">
                  <c:v>19.VIII.21</c:v>
                </c:pt>
                <c:pt idx="234">
                  <c:v>20.VIII.21</c:v>
                </c:pt>
                <c:pt idx="235">
                  <c:v>21.VIII.21</c:v>
                </c:pt>
                <c:pt idx="236">
                  <c:v>22.VIII.21</c:v>
                </c:pt>
                <c:pt idx="237">
                  <c:v>23.VIII.21</c:v>
                </c:pt>
                <c:pt idx="238">
                  <c:v>24.VIII.21</c:v>
                </c:pt>
                <c:pt idx="239">
                  <c:v>25.VIII.21</c:v>
                </c:pt>
                <c:pt idx="240">
                  <c:v>26.VIII.21</c:v>
                </c:pt>
                <c:pt idx="241">
                  <c:v>27.VIII.21</c:v>
                </c:pt>
                <c:pt idx="242">
                  <c:v>28.VIII.21</c:v>
                </c:pt>
                <c:pt idx="243">
                  <c:v>29.VIII.21</c:v>
                </c:pt>
                <c:pt idx="244">
                  <c:v>30.VIII.21</c:v>
                </c:pt>
                <c:pt idx="245">
                  <c:v>31.VIII.21</c:v>
                </c:pt>
                <c:pt idx="246">
                  <c:v>1.IX.21</c:v>
                </c:pt>
                <c:pt idx="247">
                  <c:v>2.IX.21</c:v>
                </c:pt>
                <c:pt idx="248">
                  <c:v>3.IX.21</c:v>
                </c:pt>
                <c:pt idx="249">
                  <c:v>4.IX.21</c:v>
                </c:pt>
                <c:pt idx="250">
                  <c:v>5.IX.21</c:v>
                </c:pt>
                <c:pt idx="251">
                  <c:v>6.IX.21</c:v>
                </c:pt>
                <c:pt idx="252">
                  <c:v>7.IX.21</c:v>
                </c:pt>
                <c:pt idx="253">
                  <c:v>8.IX.21</c:v>
                </c:pt>
                <c:pt idx="254">
                  <c:v>9.IX.21</c:v>
                </c:pt>
                <c:pt idx="255">
                  <c:v>10.IX.21</c:v>
                </c:pt>
                <c:pt idx="256">
                  <c:v>11.IX.21</c:v>
                </c:pt>
                <c:pt idx="257">
                  <c:v>12.IX.21</c:v>
                </c:pt>
                <c:pt idx="258">
                  <c:v>13.IX.21</c:v>
                </c:pt>
                <c:pt idx="259">
                  <c:v>14.IX.21</c:v>
                </c:pt>
                <c:pt idx="260">
                  <c:v>15.IX.21</c:v>
                </c:pt>
                <c:pt idx="261">
                  <c:v>16.IX.21</c:v>
                </c:pt>
                <c:pt idx="262">
                  <c:v>17.IX.21</c:v>
                </c:pt>
                <c:pt idx="263">
                  <c:v>18.IX.21</c:v>
                </c:pt>
                <c:pt idx="264">
                  <c:v>19.IX.21</c:v>
                </c:pt>
                <c:pt idx="265">
                  <c:v>20.IX.21</c:v>
                </c:pt>
                <c:pt idx="266">
                  <c:v>21.IX.21</c:v>
                </c:pt>
                <c:pt idx="267">
                  <c:v>22.IX.21</c:v>
                </c:pt>
                <c:pt idx="268">
                  <c:v>23.IX.21</c:v>
                </c:pt>
                <c:pt idx="269">
                  <c:v>24.IX.21</c:v>
                </c:pt>
                <c:pt idx="270">
                  <c:v>25.IX.21</c:v>
                </c:pt>
                <c:pt idx="271">
                  <c:v>26.IX.21</c:v>
                </c:pt>
                <c:pt idx="272">
                  <c:v>27.IX.21</c:v>
                </c:pt>
                <c:pt idx="273">
                  <c:v>28.IX.21</c:v>
                </c:pt>
                <c:pt idx="274">
                  <c:v>29.IX.21</c:v>
                </c:pt>
                <c:pt idx="275">
                  <c:v>30.IX.21</c:v>
                </c:pt>
                <c:pt idx="276">
                  <c:v>1.X.21</c:v>
                </c:pt>
                <c:pt idx="277">
                  <c:v>2.X.21</c:v>
                </c:pt>
                <c:pt idx="278">
                  <c:v>3.X.21</c:v>
                </c:pt>
                <c:pt idx="279">
                  <c:v>4.X.21</c:v>
                </c:pt>
                <c:pt idx="280">
                  <c:v>5.X.21</c:v>
                </c:pt>
                <c:pt idx="281">
                  <c:v>6.X.21</c:v>
                </c:pt>
                <c:pt idx="282">
                  <c:v>7.X.21</c:v>
                </c:pt>
                <c:pt idx="283">
                  <c:v>8.X.21</c:v>
                </c:pt>
                <c:pt idx="284">
                  <c:v>9.X.21</c:v>
                </c:pt>
                <c:pt idx="285">
                  <c:v>10.X.21</c:v>
                </c:pt>
                <c:pt idx="286">
                  <c:v>11.X.21</c:v>
                </c:pt>
                <c:pt idx="287">
                  <c:v>12.X.21</c:v>
                </c:pt>
                <c:pt idx="288">
                  <c:v>13.X.21</c:v>
                </c:pt>
                <c:pt idx="289">
                  <c:v>14.X.21</c:v>
                </c:pt>
                <c:pt idx="290">
                  <c:v>15.X.21</c:v>
                </c:pt>
                <c:pt idx="291">
                  <c:v>16.X.21</c:v>
                </c:pt>
                <c:pt idx="292">
                  <c:v>17.X.21</c:v>
                </c:pt>
                <c:pt idx="293">
                  <c:v>18.X.21</c:v>
                </c:pt>
                <c:pt idx="294">
                  <c:v>19.X.21</c:v>
                </c:pt>
                <c:pt idx="295">
                  <c:v>20.X.21</c:v>
                </c:pt>
                <c:pt idx="296">
                  <c:v>21.X.21</c:v>
                </c:pt>
                <c:pt idx="297">
                  <c:v>22.X.21</c:v>
                </c:pt>
                <c:pt idx="298">
                  <c:v>23.X.21</c:v>
                </c:pt>
                <c:pt idx="299">
                  <c:v>24.X.21</c:v>
                </c:pt>
                <c:pt idx="300">
                  <c:v>25.X.21</c:v>
                </c:pt>
                <c:pt idx="301">
                  <c:v>26.X.21</c:v>
                </c:pt>
                <c:pt idx="302">
                  <c:v>27.X.21</c:v>
                </c:pt>
                <c:pt idx="303">
                  <c:v>28.X.21</c:v>
                </c:pt>
                <c:pt idx="304">
                  <c:v>29.X.21</c:v>
                </c:pt>
                <c:pt idx="305">
                  <c:v>30.X.21</c:v>
                </c:pt>
                <c:pt idx="306">
                  <c:v>31.X.21</c:v>
                </c:pt>
                <c:pt idx="307">
                  <c:v>1.XI.21</c:v>
                </c:pt>
                <c:pt idx="308">
                  <c:v>2.XI.21</c:v>
                </c:pt>
                <c:pt idx="309">
                  <c:v>3.XI.21</c:v>
                </c:pt>
                <c:pt idx="310">
                  <c:v>4.XI.21</c:v>
                </c:pt>
                <c:pt idx="311">
                  <c:v>5.XI.21</c:v>
                </c:pt>
                <c:pt idx="312">
                  <c:v>6.XI.21</c:v>
                </c:pt>
                <c:pt idx="313">
                  <c:v>7.XI.21</c:v>
                </c:pt>
                <c:pt idx="314">
                  <c:v>8.XI.21</c:v>
                </c:pt>
                <c:pt idx="315">
                  <c:v>9.XI.21</c:v>
                </c:pt>
                <c:pt idx="316">
                  <c:v>10.XI.21</c:v>
                </c:pt>
                <c:pt idx="317">
                  <c:v>11.XI.21</c:v>
                </c:pt>
                <c:pt idx="318">
                  <c:v>12.XI.21</c:v>
                </c:pt>
                <c:pt idx="319">
                  <c:v>13.XI.21</c:v>
                </c:pt>
                <c:pt idx="320">
                  <c:v>14.XI.21</c:v>
                </c:pt>
                <c:pt idx="321">
                  <c:v>15.XI.21</c:v>
                </c:pt>
                <c:pt idx="322">
                  <c:v>16.XI.21</c:v>
                </c:pt>
                <c:pt idx="323">
                  <c:v>17.XI.21</c:v>
                </c:pt>
                <c:pt idx="324">
                  <c:v>18.XI.21</c:v>
                </c:pt>
                <c:pt idx="325">
                  <c:v>19.XI.21</c:v>
                </c:pt>
                <c:pt idx="326">
                  <c:v>20.XI.21</c:v>
                </c:pt>
                <c:pt idx="327">
                  <c:v>21.XI.21</c:v>
                </c:pt>
                <c:pt idx="328">
                  <c:v>22.XI.21</c:v>
                </c:pt>
                <c:pt idx="329">
                  <c:v>23.XI.21</c:v>
                </c:pt>
                <c:pt idx="330">
                  <c:v>24.XI.21</c:v>
                </c:pt>
                <c:pt idx="331">
                  <c:v>25.XI.21</c:v>
                </c:pt>
                <c:pt idx="332">
                  <c:v>26.XI.21</c:v>
                </c:pt>
                <c:pt idx="333">
                  <c:v>27.XI.21</c:v>
                </c:pt>
                <c:pt idx="334">
                  <c:v>28.XI.21</c:v>
                </c:pt>
                <c:pt idx="335">
                  <c:v>29.XI.21</c:v>
                </c:pt>
                <c:pt idx="336">
                  <c:v>30.XI.21</c:v>
                </c:pt>
                <c:pt idx="337">
                  <c:v>1.XII.21</c:v>
                </c:pt>
                <c:pt idx="338">
                  <c:v>2.XII.21</c:v>
                </c:pt>
                <c:pt idx="339">
                  <c:v>3.XII.21</c:v>
                </c:pt>
                <c:pt idx="340">
                  <c:v>4.XII.21</c:v>
                </c:pt>
                <c:pt idx="341">
                  <c:v>5.XII.21</c:v>
                </c:pt>
                <c:pt idx="342">
                  <c:v>6.XII.21</c:v>
                </c:pt>
                <c:pt idx="343">
                  <c:v>7.XII.21</c:v>
                </c:pt>
                <c:pt idx="344">
                  <c:v>8.XII.21</c:v>
                </c:pt>
                <c:pt idx="345">
                  <c:v>9.XII.21</c:v>
                </c:pt>
                <c:pt idx="346">
                  <c:v>10.XII.21</c:v>
                </c:pt>
                <c:pt idx="347">
                  <c:v>11.XII.21</c:v>
                </c:pt>
                <c:pt idx="348">
                  <c:v>12.XII.21</c:v>
                </c:pt>
                <c:pt idx="349">
                  <c:v>13.XII.21</c:v>
                </c:pt>
                <c:pt idx="350">
                  <c:v>14.XII.21</c:v>
                </c:pt>
                <c:pt idx="351">
                  <c:v>15.XII.21</c:v>
                </c:pt>
                <c:pt idx="352">
                  <c:v>16.XII.21</c:v>
                </c:pt>
                <c:pt idx="353">
                  <c:v>17.XII.21</c:v>
                </c:pt>
                <c:pt idx="354">
                  <c:v>18.XII.21</c:v>
                </c:pt>
                <c:pt idx="355">
                  <c:v>19.XII.21</c:v>
                </c:pt>
                <c:pt idx="356">
                  <c:v>20.XII.21</c:v>
                </c:pt>
                <c:pt idx="357">
                  <c:v>21.XII.21</c:v>
                </c:pt>
                <c:pt idx="358">
                  <c:v>22.XII.21</c:v>
                </c:pt>
                <c:pt idx="359">
                  <c:v>23.XII.21</c:v>
                </c:pt>
                <c:pt idx="360">
                  <c:v>24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  <c:pt idx="372">
                  <c:v>8.I.22</c:v>
                </c:pt>
                <c:pt idx="373">
                  <c:v>9.I.22</c:v>
                </c:pt>
                <c:pt idx="374">
                  <c:v>10.I.22</c:v>
                </c:pt>
                <c:pt idx="375">
                  <c:v>11.I.22</c:v>
                </c:pt>
                <c:pt idx="376">
                  <c:v>12.I.22</c:v>
                </c:pt>
                <c:pt idx="377">
                  <c:v>13.I.22</c:v>
                </c:pt>
                <c:pt idx="378">
                  <c:v>14.I.22</c:v>
                </c:pt>
                <c:pt idx="379">
                  <c:v>15.I.22</c:v>
                </c:pt>
                <c:pt idx="380">
                  <c:v>16.I.22</c:v>
                </c:pt>
                <c:pt idx="381">
                  <c:v>17.I.22</c:v>
                </c:pt>
                <c:pt idx="382">
                  <c:v>18.I.22</c:v>
                </c:pt>
                <c:pt idx="383">
                  <c:v>19.I.22</c:v>
                </c:pt>
                <c:pt idx="384">
                  <c:v>20.I.22</c:v>
                </c:pt>
                <c:pt idx="385">
                  <c:v>21.I.22</c:v>
                </c:pt>
                <c:pt idx="386">
                  <c:v>22.I.22</c:v>
                </c:pt>
                <c:pt idx="387">
                  <c:v>23.I.22</c:v>
                </c:pt>
                <c:pt idx="388">
                  <c:v>24.I.22</c:v>
                </c:pt>
                <c:pt idx="389">
                  <c:v>25.I.22</c:v>
                </c:pt>
                <c:pt idx="390">
                  <c:v>26.I.22</c:v>
                </c:pt>
                <c:pt idx="391">
                  <c:v>27.I.22</c:v>
                </c:pt>
                <c:pt idx="392">
                  <c:v>28.I.22</c:v>
                </c:pt>
                <c:pt idx="393">
                  <c:v>29.I.22</c:v>
                </c:pt>
                <c:pt idx="394">
                  <c:v>30.I.22</c:v>
                </c:pt>
                <c:pt idx="395">
                  <c:v>31.I.22</c:v>
                </c:pt>
                <c:pt idx="396">
                  <c:v>1.II.22</c:v>
                </c:pt>
                <c:pt idx="397">
                  <c:v>2.II.22</c:v>
                </c:pt>
                <c:pt idx="398">
                  <c:v>3.II.22</c:v>
                </c:pt>
                <c:pt idx="399">
                  <c:v>4.II.22</c:v>
                </c:pt>
              </c:strCache>
            </c:strRef>
          </c:cat>
          <c:val>
            <c:numRef>
              <c:f>List1!$K$2:$OT$2</c:f>
              <c:numCache>
                <c:formatCode>General</c:formatCode>
                <c:ptCount val="400"/>
                <c:pt idx="0">
                  <c:v>5609</c:v>
                </c:pt>
                <c:pt idx="1">
                  <c:v>8313</c:v>
                </c:pt>
                <c:pt idx="2">
                  <c:v>9205</c:v>
                </c:pt>
                <c:pt idx="3">
                  <c:v>9442</c:v>
                </c:pt>
                <c:pt idx="4">
                  <c:v>10603</c:v>
                </c:pt>
                <c:pt idx="5">
                  <c:v>11445</c:v>
                </c:pt>
                <c:pt idx="6">
                  <c:v>14614</c:v>
                </c:pt>
                <c:pt idx="7">
                  <c:v>18531</c:v>
                </c:pt>
                <c:pt idx="8">
                  <c:v>23459</c:v>
                </c:pt>
                <c:pt idx="9">
                  <c:v>29291</c:v>
                </c:pt>
                <c:pt idx="10">
                  <c:v>36079</c:v>
                </c:pt>
                <c:pt idx="11">
                  <c:v>37242</c:v>
                </c:pt>
                <c:pt idx="12">
                  <c:v>38200</c:v>
                </c:pt>
                <c:pt idx="13">
                  <c:v>44615</c:v>
                </c:pt>
                <c:pt idx="14">
                  <c:v>52036</c:v>
                </c:pt>
                <c:pt idx="15">
                  <c:v>58649</c:v>
                </c:pt>
                <c:pt idx="16">
                  <c:v>65631</c:v>
                </c:pt>
                <c:pt idx="17">
                  <c:v>71828</c:v>
                </c:pt>
                <c:pt idx="18">
                  <c:v>72765</c:v>
                </c:pt>
                <c:pt idx="19">
                  <c:v>73313</c:v>
                </c:pt>
                <c:pt idx="20">
                  <c:v>78001</c:v>
                </c:pt>
                <c:pt idx="21">
                  <c:v>81802</c:v>
                </c:pt>
                <c:pt idx="22">
                  <c:v>85521</c:v>
                </c:pt>
                <c:pt idx="23">
                  <c:v>88914</c:v>
                </c:pt>
                <c:pt idx="24">
                  <c:v>91805</c:v>
                </c:pt>
                <c:pt idx="25">
                  <c:v>92195</c:v>
                </c:pt>
                <c:pt idx="26">
                  <c:v>92431</c:v>
                </c:pt>
                <c:pt idx="27">
                  <c:v>94038</c:v>
                </c:pt>
                <c:pt idx="28">
                  <c:v>95804</c:v>
                </c:pt>
                <c:pt idx="29">
                  <c:v>97254</c:v>
                </c:pt>
                <c:pt idx="30">
                  <c:v>98643</c:v>
                </c:pt>
                <c:pt idx="31">
                  <c:v>99923</c:v>
                </c:pt>
                <c:pt idx="32">
                  <c:v>99994</c:v>
                </c:pt>
                <c:pt idx="33">
                  <c:v>100065</c:v>
                </c:pt>
                <c:pt idx="34">
                  <c:v>100959</c:v>
                </c:pt>
                <c:pt idx="35">
                  <c:v>101827</c:v>
                </c:pt>
                <c:pt idx="36">
                  <c:v>102643</c:v>
                </c:pt>
                <c:pt idx="37">
                  <c:v>103352</c:v>
                </c:pt>
                <c:pt idx="38">
                  <c:v>104281</c:v>
                </c:pt>
                <c:pt idx="39">
                  <c:v>104332</c:v>
                </c:pt>
                <c:pt idx="40">
                  <c:v>104383</c:v>
                </c:pt>
                <c:pt idx="41">
                  <c:v>105025</c:v>
                </c:pt>
                <c:pt idx="42">
                  <c:v>105680</c:v>
                </c:pt>
                <c:pt idx="43">
                  <c:v>106545</c:v>
                </c:pt>
                <c:pt idx="44">
                  <c:v>107601</c:v>
                </c:pt>
                <c:pt idx="45">
                  <c:v>108803</c:v>
                </c:pt>
                <c:pt idx="46">
                  <c:v>109188</c:v>
                </c:pt>
                <c:pt idx="47">
                  <c:v>109372</c:v>
                </c:pt>
                <c:pt idx="48">
                  <c:v>110695</c:v>
                </c:pt>
                <c:pt idx="49">
                  <c:v>111987</c:v>
                </c:pt>
                <c:pt idx="50">
                  <c:v>113362</c:v>
                </c:pt>
                <c:pt idx="51">
                  <c:v>114927</c:v>
                </c:pt>
                <c:pt idx="52">
                  <c:v>116784</c:v>
                </c:pt>
                <c:pt idx="53">
                  <c:v>117243</c:v>
                </c:pt>
                <c:pt idx="54">
                  <c:v>117406</c:v>
                </c:pt>
                <c:pt idx="55">
                  <c:v>118999</c:v>
                </c:pt>
                <c:pt idx="56">
                  <c:v>121296</c:v>
                </c:pt>
                <c:pt idx="57">
                  <c:v>123796</c:v>
                </c:pt>
                <c:pt idx="58">
                  <c:v>126828</c:v>
                </c:pt>
                <c:pt idx="59">
                  <c:v>129434</c:v>
                </c:pt>
                <c:pt idx="60">
                  <c:v>129742</c:v>
                </c:pt>
                <c:pt idx="61">
                  <c:v>129963</c:v>
                </c:pt>
                <c:pt idx="62">
                  <c:v>132511</c:v>
                </c:pt>
                <c:pt idx="63">
                  <c:v>135269</c:v>
                </c:pt>
                <c:pt idx="64">
                  <c:v>137936</c:v>
                </c:pt>
                <c:pt idx="65">
                  <c:v>140391</c:v>
                </c:pt>
                <c:pt idx="66">
                  <c:v>143359</c:v>
                </c:pt>
                <c:pt idx="67">
                  <c:v>144066</c:v>
                </c:pt>
                <c:pt idx="68">
                  <c:v>144581</c:v>
                </c:pt>
                <c:pt idx="69">
                  <c:v>146528</c:v>
                </c:pt>
                <c:pt idx="70">
                  <c:v>148676</c:v>
                </c:pt>
                <c:pt idx="71">
                  <c:v>150925</c:v>
                </c:pt>
                <c:pt idx="72">
                  <c:v>153929</c:v>
                </c:pt>
                <c:pt idx="73">
                  <c:v>156551</c:v>
                </c:pt>
                <c:pt idx="74">
                  <c:v>157210</c:v>
                </c:pt>
                <c:pt idx="75">
                  <c:v>157779</c:v>
                </c:pt>
                <c:pt idx="76">
                  <c:v>159369</c:v>
                </c:pt>
                <c:pt idx="77">
                  <c:v>161701</c:v>
                </c:pt>
                <c:pt idx="78">
                  <c:v>164018</c:v>
                </c:pt>
                <c:pt idx="79">
                  <c:v>166045</c:v>
                </c:pt>
                <c:pt idx="80">
                  <c:v>168308</c:v>
                </c:pt>
                <c:pt idx="81">
                  <c:v>169183</c:v>
                </c:pt>
                <c:pt idx="82">
                  <c:v>169631</c:v>
                </c:pt>
                <c:pt idx="83">
                  <c:v>170786</c:v>
                </c:pt>
                <c:pt idx="84">
                  <c:v>172025</c:v>
                </c:pt>
                <c:pt idx="85">
                  <c:v>173095</c:v>
                </c:pt>
                <c:pt idx="86">
                  <c:v>174394</c:v>
                </c:pt>
                <c:pt idx="87">
                  <c:v>175772</c:v>
                </c:pt>
                <c:pt idx="88">
                  <c:v>176146</c:v>
                </c:pt>
                <c:pt idx="89">
                  <c:v>176490</c:v>
                </c:pt>
                <c:pt idx="90">
                  <c:v>177273</c:v>
                </c:pt>
                <c:pt idx="91">
                  <c:v>178301</c:v>
                </c:pt>
                <c:pt idx="92">
                  <c:v>179423</c:v>
                </c:pt>
                <c:pt idx="93">
                  <c:v>180527</c:v>
                </c:pt>
                <c:pt idx="94">
                  <c:v>180795</c:v>
                </c:pt>
                <c:pt idx="95">
                  <c:v>180915</c:v>
                </c:pt>
                <c:pt idx="96">
                  <c:v>181031</c:v>
                </c:pt>
                <c:pt idx="97">
                  <c:v>181103</c:v>
                </c:pt>
                <c:pt idx="98">
                  <c:v>181669</c:v>
                </c:pt>
                <c:pt idx="99">
                  <c:v>182345</c:v>
                </c:pt>
                <c:pt idx="100">
                  <c:v>183593</c:v>
                </c:pt>
                <c:pt idx="101">
                  <c:v>184870</c:v>
                </c:pt>
                <c:pt idx="102">
                  <c:v>185247</c:v>
                </c:pt>
                <c:pt idx="103">
                  <c:v>185497</c:v>
                </c:pt>
                <c:pt idx="104">
                  <c:v>186439</c:v>
                </c:pt>
                <c:pt idx="105">
                  <c:v>187253</c:v>
                </c:pt>
                <c:pt idx="106">
                  <c:v>188197</c:v>
                </c:pt>
                <c:pt idx="107">
                  <c:v>189565</c:v>
                </c:pt>
                <c:pt idx="108">
                  <c:v>191115</c:v>
                </c:pt>
                <c:pt idx="109">
                  <c:v>191538</c:v>
                </c:pt>
                <c:pt idx="110">
                  <c:v>191979</c:v>
                </c:pt>
                <c:pt idx="111">
                  <c:v>193085</c:v>
                </c:pt>
                <c:pt idx="112">
                  <c:v>194134</c:v>
                </c:pt>
                <c:pt idx="113">
                  <c:v>195427</c:v>
                </c:pt>
                <c:pt idx="114">
                  <c:v>196900</c:v>
                </c:pt>
                <c:pt idx="115">
                  <c:v>198416</c:v>
                </c:pt>
                <c:pt idx="116">
                  <c:v>198857</c:v>
                </c:pt>
                <c:pt idx="117">
                  <c:v>199231</c:v>
                </c:pt>
                <c:pt idx="118">
                  <c:v>200432</c:v>
                </c:pt>
                <c:pt idx="119">
                  <c:v>201524</c:v>
                </c:pt>
                <c:pt idx="120">
                  <c:v>202916</c:v>
                </c:pt>
                <c:pt idx="121">
                  <c:v>204393</c:v>
                </c:pt>
                <c:pt idx="122">
                  <c:v>205798</c:v>
                </c:pt>
                <c:pt idx="123">
                  <c:v>206135</c:v>
                </c:pt>
                <c:pt idx="124">
                  <c:v>206473</c:v>
                </c:pt>
                <c:pt idx="125">
                  <c:v>207559</c:v>
                </c:pt>
                <c:pt idx="126">
                  <c:v>208665</c:v>
                </c:pt>
                <c:pt idx="127">
                  <c:v>209814</c:v>
                </c:pt>
                <c:pt idx="128">
                  <c:v>211011</c:v>
                </c:pt>
                <c:pt idx="129">
                  <c:v>212319</c:v>
                </c:pt>
                <c:pt idx="130">
                  <c:v>212822</c:v>
                </c:pt>
                <c:pt idx="131">
                  <c:v>213132</c:v>
                </c:pt>
                <c:pt idx="132">
                  <c:v>214106</c:v>
                </c:pt>
                <c:pt idx="133">
                  <c:v>215135</c:v>
                </c:pt>
                <c:pt idx="134">
                  <c:v>216175</c:v>
                </c:pt>
                <c:pt idx="135">
                  <c:v>217319</c:v>
                </c:pt>
                <c:pt idx="136">
                  <c:v>218325</c:v>
                </c:pt>
                <c:pt idx="137">
                  <c:v>218768</c:v>
                </c:pt>
                <c:pt idx="138">
                  <c:v>219056</c:v>
                </c:pt>
                <c:pt idx="139">
                  <c:v>219845</c:v>
                </c:pt>
                <c:pt idx="140">
                  <c:v>220728</c:v>
                </c:pt>
                <c:pt idx="141">
                  <c:v>221638</c:v>
                </c:pt>
                <c:pt idx="142">
                  <c:v>222577</c:v>
                </c:pt>
                <c:pt idx="143">
                  <c:v>223506</c:v>
                </c:pt>
                <c:pt idx="144">
                  <c:v>223860</c:v>
                </c:pt>
                <c:pt idx="145">
                  <c:v>224089</c:v>
                </c:pt>
                <c:pt idx="146">
                  <c:v>224642</c:v>
                </c:pt>
                <c:pt idx="147">
                  <c:v>225271</c:v>
                </c:pt>
                <c:pt idx="148">
                  <c:v>226127</c:v>
                </c:pt>
                <c:pt idx="149">
                  <c:v>226914</c:v>
                </c:pt>
                <c:pt idx="150">
                  <c:v>227742</c:v>
                </c:pt>
                <c:pt idx="151">
                  <c:v>228110</c:v>
                </c:pt>
                <c:pt idx="152">
                  <c:v>228402</c:v>
                </c:pt>
                <c:pt idx="153">
                  <c:v>229097</c:v>
                </c:pt>
                <c:pt idx="154">
                  <c:v>229821</c:v>
                </c:pt>
                <c:pt idx="155">
                  <c:v>230711</c:v>
                </c:pt>
                <c:pt idx="156">
                  <c:v>231552</c:v>
                </c:pt>
                <c:pt idx="157">
                  <c:v>232442</c:v>
                </c:pt>
                <c:pt idx="158">
                  <c:v>232868</c:v>
                </c:pt>
                <c:pt idx="159">
                  <c:v>233276</c:v>
                </c:pt>
                <c:pt idx="160">
                  <c:v>234174</c:v>
                </c:pt>
                <c:pt idx="161">
                  <c:v>235160</c:v>
                </c:pt>
                <c:pt idx="162">
                  <c:v>236086</c:v>
                </c:pt>
                <c:pt idx="163">
                  <c:v>236967</c:v>
                </c:pt>
                <c:pt idx="164">
                  <c:v>237826</c:v>
                </c:pt>
                <c:pt idx="165">
                  <c:v>238355</c:v>
                </c:pt>
                <c:pt idx="166">
                  <c:v>238730</c:v>
                </c:pt>
                <c:pt idx="167">
                  <c:v>239401</c:v>
                </c:pt>
                <c:pt idx="168">
                  <c:v>240166</c:v>
                </c:pt>
                <c:pt idx="169">
                  <c:v>240872</c:v>
                </c:pt>
                <c:pt idx="170">
                  <c:v>241591</c:v>
                </c:pt>
                <c:pt idx="171">
                  <c:v>242268</c:v>
                </c:pt>
                <c:pt idx="172">
                  <c:v>242605</c:v>
                </c:pt>
                <c:pt idx="173">
                  <c:v>242866</c:v>
                </c:pt>
                <c:pt idx="174">
                  <c:v>243382</c:v>
                </c:pt>
                <c:pt idx="175">
                  <c:v>243972</c:v>
                </c:pt>
                <c:pt idx="176">
                  <c:v>244473</c:v>
                </c:pt>
                <c:pt idx="177">
                  <c:v>244976</c:v>
                </c:pt>
                <c:pt idx="178">
                  <c:v>245479</c:v>
                </c:pt>
                <c:pt idx="179">
                  <c:v>245736</c:v>
                </c:pt>
                <c:pt idx="180">
                  <c:v>245929</c:v>
                </c:pt>
                <c:pt idx="181">
                  <c:v>246427</c:v>
                </c:pt>
                <c:pt idx="182">
                  <c:v>246890</c:v>
                </c:pt>
                <c:pt idx="183">
                  <c:v>247373</c:v>
                </c:pt>
                <c:pt idx="184">
                  <c:v>247738</c:v>
                </c:pt>
                <c:pt idx="185">
                  <c:v>248224</c:v>
                </c:pt>
                <c:pt idx="186">
                  <c:v>248322</c:v>
                </c:pt>
                <c:pt idx="187">
                  <c:v>248439</c:v>
                </c:pt>
                <c:pt idx="188">
                  <c:v>248552</c:v>
                </c:pt>
                <c:pt idx="189">
                  <c:v>248653</c:v>
                </c:pt>
                <c:pt idx="190">
                  <c:v>249066</c:v>
                </c:pt>
                <c:pt idx="191">
                  <c:v>249517</c:v>
                </c:pt>
                <c:pt idx="192">
                  <c:v>249963</c:v>
                </c:pt>
                <c:pt idx="193">
                  <c:v>250131</c:v>
                </c:pt>
                <c:pt idx="194">
                  <c:v>250252</c:v>
                </c:pt>
                <c:pt idx="195">
                  <c:v>250698</c:v>
                </c:pt>
                <c:pt idx="196">
                  <c:v>251146</c:v>
                </c:pt>
                <c:pt idx="197">
                  <c:v>251636</c:v>
                </c:pt>
                <c:pt idx="198">
                  <c:v>252135</c:v>
                </c:pt>
                <c:pt idx="199">
                  <c:v>252625</c:v>
                </c:pt>
                <c:pt idx="200">
                  <c:v>252807</c:v>
                </c:pt>
                <c:pt idx="201">
                  <c:v>252954</c:v>
                </c:pt>
                <c:pt idx="202">
                  <c:v>253377</c:v>
                </c:pt>
                <c:pt idx="203">
                  <c:v>253733</c:v>
                </c:pt>
                <c:pt idx="204">
                  <c:v>254203</c:v>
                </c:pt>
                <c:pt idx="205">
                  <c:v>254600</c:v>
                </c:pt>
                <c:pt idx="206">
                  <c:v>254993</c:v>
                </c:pt>
                <c:pt idx="207">
                  <c:v>255105</c:v>
                </c:pt>
                <c:pt idx="208">
                  <c:v>255195</c:v>
                </c:pt>
                <c:pt idx="209">
                  <c:v>255585</c:v>
                </c:pt>
                <c:pt idx="210">
                  <c:v>256007</c:v>
                </c:pt>
                <c:pt idx="211">
                  <c:v>256370</c:v>
                </c:pt>
                <c:pt idx="212">
                  <c:v>256707</c:v>
                </c:pt>
                <c:pt idx="213">
                  <c:v>257129</c:v>
                </c:pt>
                <c:pt idx="214">
                  <c:v>257251</c:v>
                </c:pt>
                <c:pt idx="215">
                  <c:v>257354</c:v>
                </c:pt>
                <c:pt idx="216">
                  <c:v>257637</c:v>
                </c:pt>
                <c:pt idx="217">
                  <c:v>257905</c:v>
                </c:pt>
                <c:pt idx="218">
                  <c:v>258219</c:v>
                </c:pt>
                <c:pt idx="219">
                  <c:v>258486</c:v>
                </c:pt>
                <c:pt idx="220">
                  <c:v>258767</c:v>
                </c:pt>
                <c:pt idx="221">
                  <c:v>258840</c:v>
                </c:pt>
                <c:pt idx="222">
                  <c:v>258904</c:v>
                </c:pt>
                <c:pt idx="223">
                  <c:v>259115</c:v>
                </c:pt>
                <c:pt idx="224">
                  <c:v>259325</c:v>
                </c:pt>
                <c:pt idx="225">
                  <c:v>259488</c:v>
                </c:pt>
                <c:pt idx="226">
                  <c:v>259722</c:v>
                </c:pt>
                <c:pt idx="227">
                  <c:v>259914</c:v>
                </c:pt>
                <c:pt idx="228">
                  <c:v>259971</c:v>
                </c:pt>
                <c:pt idx="229">
                  <c:v>260017</c:v>
                </c:pt>
                <c:pt idx="230">
                  <c:v>260199</c:v>
                </c:pt>
                <c:pt idx="231">
                  <c:v>260381</c:v>
                </c:pt>
                <c:pt idx="232">
                  <c:v>260549</c:v>
                </c:pt>
                <c:pt idx="233">
                  <c:v>260713</c:v>
                </c:pt>
                <c:pt idx="234">
                  <c:v>260959</c:v>
                </c:pt>
                <c:pt idx="235">
                  <c:v>261001</c:v>
                </c:pt>
                <c:pt idx="236">
                  <c:v>261034</c:v>
                </c:pt>
                <c:pt idx="237">
                  <c:v>261236</c:v>
                </c:pt>
                <c:pt idx="238">
                  <c:v>261427</c:v>
                </c:pt>
                <c:pt idx="239">
                  <c:v>261595</c:v>
                </c:pt>
                <c:pt idx="240">
                  <c:v>261757</c:v>
                </c:pt>
                <c:pt idx="241">
                  <c:v>261976</c:v>
                </c:pt>
                <c:pt idx="242">
                  <c:v>262020</c:v>
                </c:pt>
                <c:pt idx="243">
                  <c:v>262053</c:v>
                </c:pt>
                <c:pt idx="244">
                  <c:v>262226</c:v>
                </c:pt>
                <c:pt idx="245">
                  <c:v>262391</c:v>
                </c:pt>
                <c:pt idx="246">
                  <c:v>262516</c:v>
                </c:pt>
                <c:pt idx="247">
                  <c:v>262691</c:v>
                </c:pt>
                <c:pt idx="248">
                  <c:v>262886</c:v>
                </c:pt>
                <c:pt idx="249">
                  <c:v>262921</c:v>
                </c:pt>
                <c:pt idx="250">
                  <c:v>262954</c:v>
                </c:pt>
                <c:pt idx="251">
                  <c:v>263090</c:v>
                </c:pt>
                <c:pt idx="252">
                  <c:v>263180</c:v>
                </c:pt>
                <c:pt idx="253">
                  <c:v>263304</c:v>
                </c:pt>
                <c:pt idx="254">
                  <c:v>263447</c:v>
                </c:pt>
                <c:pt idx="255">
                  <c:v>263593</c:v>
                </c:pt>
                <c:pt idx="256">
                  <c:v>263628</c:v>
                </c:pt>
                <c:pt idx="257">
                  <c:v>263651</c:v>
                </c:pt>
                <c:pt idx="258">
                  <c:v>263762</c:v>
                </c:pt>
                <c:pt idx="259">
                  <c:v>263894</c:v>
                </c:pt>
                <c:pt idx="260">
                  <c:v>264001</c:v>
                </c:pt>
                <c:pt idx="261">
                  <c:v>264122</c:v>
                </c:pt>
                <c:pt idx="262">
                  <c:v>264286</c:v>
                </c:pt>
                <c:pt idx="263">
                  <c:v>264327</c:v>
                </c:pt>
                <c:pt idx="264">
                  <c:v>264340</c:v>
                </c:pt>
                <c:pt idx="265">
                  <c:v>264442</c:v>
                </c:pt>
                <c:pt idx="266">
                  <c:v>264546</c:v>
                </c:pt>
                <c:pt idx="267">
                  <c:v>264643</c:v>
                </c:pt>
                <c:pt idx="268">
                  <c:v>264778</c:v>
                </c:pt>
                <c:pt idx="269">
                  <c:v>264944</c:v>
                </c:pt>
                <c:pt idx="270">
                  <c:v>264976</c:v>
                </c:pt>
                <c:pt idx="271">
                  <c:v>264986</c:v>
                </c:pt>
                <c:pt idx="272">
                  <c:v>265083</c:v>
                </c:pt>
                <c:pt idx="273">
                  <c:v>265091</c:v>
                </c:pt>
                <c:pt idx="274">
                  <c:v>265176</c:v>
                </c:pt>
                <c:pt idx="275">
                  <c:v>265276</c:v>
                </c:pt>
                <c:pt idx="276">
                  <c:v>265368</c:v>
                </c:pt>
                <c:pt idx="277">
                  <c:v>265389</c:v>
                </c:pt>
                <c:pt idx="278">
                  <c:v>265403</c:v>
                </c:pt>
                <c:pt idx="279">
                  <c:v>265471</c:v>
                </c:pt>
                <c:pt idx="280">
                  <c:v>265554</c:v>
                </c:pt>
                <c:pt idx="281">
                  <c:v>265653</c:v>
                </c:pt>
                <c:pt idx="282">
                  <c:v>265723</c:v>
                </c:pt>
                <c:pt idx="283">
                  <c:v>265835</c:v>
                </c:pt>
                <c:pt idx="284">
                  <c:v>265860</c:v>
                </c:pt>
                <c:pt idx="285">
                  <c:v>265872</c:v>
                </c:pt>
                <c:pt idx="286">
                  <c:v>265949</c:v>
                </c:pt>
                <c:pt idx="287">
                  <c:v>266034</c:v>
                </c:pt>
                <c:pt idx="288">
                  <c:v>266115</c:v>
                </c:pt>
                <c:pt idx="289">
                  <c:v>266183</c:v>
                </c:pt>
                <c:pt idx="290">
                  <c:v>266303</c:v>
                </c:pt>
                <c:pt idx="291">
                  <c:v>266334</c:v>
                </c:pt>
                <c:pt idx="292">
                  <c:v>266364</c:v>
                </c:pt>
                <c:pt idx="293">
                  <c:v>266495</c:v>
                </c:pt>
                <c:pt idx="294">
                  <c:v>266590</c:v>
                </c:pt>
                <c:pt idx="295">
                  <c:v>266722</c:v>
                </c:pt>
                <c:pt idx="296">
                  <c:v>266961</c:v>
                </c:pt>
                <c:pt idx="297">
                  <c:v>267268</c:v>
                </c:pt>
                <c:pt idx="298">
                  <c:v>267351</c:v>
                </c:pt>
                <c:pt idx="299">
                  <c:v>267415</c:v>
                </c:pt>
                <c:pt idx="300">
                  <c:v>267677</c:v>
                </c:pt>
                <c:pt idx="301">
                  <c:v>268039</c:v>
                </c:pt>
                <c:pt idx="302">
                  <c:v>268458</c:v>
                </c:pt>
                <c:pt idx="303">
                  <c:v>268542</c:v>
                </c:pt>
                <c:pt idx="304">
                  <c:v>268921</c:v>
                </c:pt>
                <c:pt idx="305">
                  <c:v>269029</c:v>
                </c:pt>
                <c:pt idx="306">
                  <c:v>269099</c:v>
                </c:pt>
                <c:pt idx="307">
                  <c:v>269516</c:v>
                </c:pt>
                <c:pt idx="308">
                  <c:v>269934</c:v>
                </c:pt>
                <c:pt idx="309">
                  <c:v>270351</c:v>
                </c:pt>
                <c:pt idx="310">
                  <c:v>270851</c:v>
                </c:pt>
                <c:pt idx="311">
                  <c:v>271412</c:v>
                </c:pt>
                <c:pt idx="312">
                  <c:v>271567</c:v>
                </c:pt>
                <c:pt idx="313">
                  <c:v>271664</c:v>
                </c:pt>
                <c:pt idx="314">
                  <c:v>272064</c:v>
                </c:pt>
                <c:pt idx="315">
                  <c:v>272404</c:v>
                </c:pt>
                <c:pt idx="316">
                  <c:v>272789</c:v>
                </c:pt>
                <c:pt idx="317">
                  <c:v>273188</c:v>
                </c:pt>
                <c:pt idx="318">
                  <c:v>273723</c:v>
                </c:pt>
                <c:pt idx="319">
                  <c:v>273847</c:v>
                </c:pt>
                <c:pt idx="320">
                  <c:v>273933</c:v>
                </c:pt>
                <c:pt idx="321">
                  <c:v>274353</c:v>
                </c:pt>
                <c:pt idx="322">
                  <c:v>274823</c:v>
                </c:pt>
                <c:pt idx="323">
                  <c:v>274927</c:v>
                </c:pt>
                <c:pt idx="324">
                  <c:v>275436</c:v>
                </c:pt>
                <c:pt idx="325">
                  <c:v>276059</c:v>
                </c:pt>
                <c:pt idx="326">
                  <c:v>276255</c:v>
                </c:pt>
                <c:pt idx="327">
                  <c:v>276397</c:v>
                </c:pt>
                <c:pt idx="328">
                  <c:v>276818</c:v>
                </c:pt>
                <c:pt idx="329">
                  <c:v>277239</c:v>
                </c:pt>
                <c:pt idx="330">
                  <c:v>277702</c:v>
                </c:pt>
                <c:pt idx="331">
                  <c:v>278179</c:v>
                </c:pt>
                <c:pt idx="332">
                  <c:v>278697</c:v>
                </c:pt>
                <c:pt idx="333">
                  <c:v>278847</c:v>
                </c:pt>
                <c:pt idx="334">
                  <c:v>278898</c:v>
                </c:pt>
                <c:pt idx="335">
                  <c:v>279248</c:v>
                </c:pt>
                <c:pt idx="336">
                  <c:v>279583</c:v>
                </c:pt>
                <c:pt idx="337">
                  <c:v>279933</c:v>
                </c:pt>
                <c:pt idx="338">
                  <c:v>280186</c:v>
                </c:pt>
                <c:pt idx="339">
                  <c:v>280450</c:v>
                </c:pt>
                <c:pt idx="340">
                  <c:v>280503</c:v>
                </c:pt>
                <c:pt idx="341">
                  <c:v>280524</c:v>
                </c:pt>
                <c:pt idx="342">
                  <c:v>280717</c:v>
                </c:pt>
                <c:pt idx="343">
                  <c:v>280896</c:v>
                </c:pt>
                <c:pt idx="344">
                  <c:v>281109</c:v>
                </c:pt>
                <c:pt idx="345">
                  <c:v>281277</c:v>
                </c:pt>
                <c:pt idx="346">
                  <c:v>281465</c:v>
                </c:pt>
                <c:pt idx="347">
                  <c:v>281502</c:v>
                </c:pt>
                <c:pt idx="348">
                  <c:v>281528</c:v>
                </c:pt>
                <c:pt idx="349">
                  <c:v>281703</c:v>
                </c:pt>
                <c:pt idx="350">
                  <c:v>281849</c:v>
                </c:pt>
                <c:pt idx="351">
                  <c:v>281987</c:v>
                </c:pt>
                <c:pt idx="352">
                  <c:v>282159</c:v>
                </c:pt>
                <c:pt idx="353">
                  <c:v>282350</c:v>
                </c:pt>
                <c:pt idx="354">
                  <c:v>282405</c:v>
                </c:pt>
                <c:pt idx="355">
                  <c:v>282420</c:v>
                </c:pt>
                <c:pt idx="356">
                  <c:v>282542</c:v>
                </c:pt>
                <c:pt idx="357">
                  <c:v>282648</c:v>
                </c:pt>
                <c:pt idx="358">
                  <c:v>282739</c:v>
                </c:pt>
                <c:pt idx="359">
                  <c:v>282771</c:v>
                </c:pt>
                <c:pt idx="360">
                  <c:v>282772</c:v>
                </c:pt>
                <c:pt idx="361">
                  <c:v>282834</c:v>
                </c:pt>
                <c:pt idx="362">
                  <c:v>282903</c:v>
                </c:pt>
                <c:pt idx="363">
                  <c:v>282971</c:v>
                </c:pt>
                <c:pt idx="364">
                  <c:v>283043</c:v>
                </c:pt>
                <c:pt idx="365">
                  <c:v>283050</c:v>
                </c:pt>
                <c:pt idx="366">
                  <c:v>283057</c:v>
                </c:pt>
                <c:pt idx="367">
                  <c:v>283140</c:v>
                </c:pt>
                <c:pt idx="368">
                  <c:v>283220</c:v>
                </c:pt>
                <c:pt idx="369">
                  <c:v>283323</c:v>
                </c:pt>
                <c:pt idx="370">
                  <c:v>283439</c:v>
                </c:pt>
                <c:pt idx="371">
                  <c:v>283617</c:v>
                </c:pt>
                <c:pt idx="372">
                  <c:v>283640</c:v>
                </c:pt>
                <c:pt idx="373">
                  <c:v>283658</c:v>
                </c:pt>
                <c:pt idx="374">
                  <c:v>283744</c:v>
                </c:pt>
                <c:pt idx="375">
                  <c:v>283840</c:v>
                </c:pt>
                <c:pt idx="376">
                  <c:v>283946</c:v>
                </c:pt>
                <c:pt idx="377">
                  <c:v>284064</c:v>
                </c:pt>
                <c:pt idx="378">
                  <c:v>284219</c:v>
                </c:pt>
                <c:pt idx="379">
                  <c:v>284257</c:v>
                </c:pt>
                <c:pt idx="380">
                  <c:v>284273</c:v>
                </c:pt>
                <c:pt idx="381">
                  <c:v>284366</c:v>
                </c:pt>
                <c:pt idx="382">
                  <c:v>284474</c:v>
                </c:pt>
                <c:pt idx="383">
                  <c:v>284543</c:v>
                </c:pt>
                <c:pt idx="384">
                  <c:v>284604</c:v>
                </c:pt>
                <c:pt idx="385">
                  <c:v>284700</c:v>
                </c:pt>
                <c:pt idx="386">
                  <c:v>284708</c:v>
                </c:pt>
                <c:pt idx="387">
                  <c:v>284716</c:v>
                </c:pt>
                <c:pt idx="388">
                  <c:v>284756</c:v>
                </c:pt>
                <c:pt idx="389">
                  <c:v>284798</c:v>
                </c:pt>
                <c:pt idx="390">
                  <c:v>284842</c:v>
                </c:pt>
                <c:pt idx="391">
                  <c:v>284880</c:v>
                </c:pt>
                <c:pt idx="392">
                  <c:v>284943</c:v>
                </c:pt>
                <c:pt idx="393">
                  <c:v>284957</c:v>
                </c:pt>
                <c:pt idx="394">
                  <c:v>284960</c:v>
                </c:pt>
                <c:pt idx="395">
                  <c:v>284984</c:v>
                </c:pt>
                <c:pt idx="396">
                  <c:v>285003</c:v>
                </c:pt>
                <c:pt idx="397">
                  <c:v>285029</c:v>
                </c:pt>
                <c:pt idx="398">
                  <c:v>285049</c:v>
                </c:pt>
                <c:pt idx="399">
                  <c:v>2850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K$1:$OT$1</c:f>
              <c:strCache>
                <c:ptCount val="400"/>
                <c:pt idx="0">
                  <c:v>29.XII.20</c:v>
                </c:pt>
                <c:pt idx="1">
                  <c:v>30.XII.20</c:v>
                </c:pt>
                <c:pt idx="2">
                  <c:v>31.XII.20</c:v>
                </c:pt>
                <c:pt idx="3">
                  <c:v>1.I.21</c:v>
                </c:pt>
                <c:pt idx="4">
                  <c:v>2.I.21</c:v>
                </c:pt>
                <c:pt idx="5">
                  <c:v>3.I.21</c:v>
                </c:pt>
                <c:pt idx="6">
                  <c:v>4.I.21</c:v>
                </c:pt>
                <c:pt idx="7">
                  <c:v>5.I.21</c:v>
                </c:pt>
                <c:pt idx="8">
                  <c:v>6.I.21</c:v>
                </c:pt>
                <c:pt idx="9">
                  <c:v>7.I.21</c:v>
                </c:pt>
                <c:pt idx="10">
                  <c:v>8.I.21</c:v>
                </c:pt>
                <c:pt idx="11">
                  <c:v>9.I.21</c:v>
                </c:pt>
                <c:pt idx="12">
                  <c:v>10.I.21</c:v>
                </c:pt>
                <c:pt idx="13">
                  <c:v>11.I.21</c:v>
                </c:pt>
                <c:pt idx="14">
                  <c:v>12.I.21</c:v>
                </c:pt>
                <c:pt idx="15">
                  <c:v>13.I.21</c:v>
                </c:pt>
                <c:pt idx="16">
                  <c:v>14.I.21</c:v>
                </c:pt>
                <c:pt idx="17">
                  <c:v>15.I.21</c:v>
                </c:pt>
                <c:pt idx="18">
                  <c:v>16.I.21</c:v>
                </c:pt>
                <c:pt idx="19">
                  <c:v>17.I.21</c:v>
                </c:pt>
                <c:pt idx="20">
                  <c:v>18.I.21</c:v>
                </c:pt>
                <c:pt idx="21">
                  <c:v>19.I.21</c:v>
                </c:pt>
                <c:pt idx="22">
                  <c:v>20.I.21</c:v>
                </c:pt>
                <c:pt idx="23">
                  <c:v>21.I.21</c:v>
                </c:pt>
                <c:pt idx="24">
                  <c:v>22.I.21</c:v>
                </c:pt>
                <c:pt idx="25">
                  <c:v>23.I.21</c:v>
                </c:pt>
                <c:pt idx="26">
                  <c:v>24.I.21</c:v>
                </c:pt>
                <c:pt idx="27">
                  <c:v>25.I.21</c:v>
                </c:pt>
                <c:pt idx="28">
                  <c:v>26.I.21</c:v>
                </c:pt>
                <c:pt idx="29">
                  <c:v>27.I.21</c:v>
                </c:pt>
                <c:pt idx="30">
                  <c:v>28.I.21</c:v>
                </c:pt>
                <c:pt idx="31">
                  <c:v>29.I.21</c:v>
                </c:pt>
                <c:pt idx="32">
                  <c:v>30.I.21</c:v>
                </c:pt>
                <c:pt idx="33">
                  <c:v>31.I.21</c:v>
                </c:pt>
                <c:pt idx="34">
                  <c:v>1.II.21</c:v>
                </c:pt>
                <c:pt idx="35">
                  <c:v>2.II.21</c:v>
                </c:pt>
                <c:pt idx="36">
                  <c:v>3.II.21</c:v>
                </c:pt>
                <c:pt idx="37">
                  <c:v>4.II.21</c:v>
                </c:pt>
                <c:pt idx="38">
                  <c:v>5.II.21</c:v>
                </c:pt>
                <c:pt idx="39">
                  <c:v>6.II.21</c:v>
                </c:pt>
                <c:pt idx="40">
                  <c:v>7.II.21</c:v>
                </c:pt>
                <c:pt idx="41">
                  <c:v>8.II.21</c:v>
                </c:pt>
                <c:pt idx="42">
                  <c:v>9.II.21</c:v>
                </c:pt>
                <c:pt idx="43">
                  <c:v>10.II.21</c:v>
                </c:pt>
                <c:pt idx="44">
                  <c:v>11.II.21</c:v>
                </c:pt>
                <c:pt idx="45">
                  <c:v>12.II.21</c:v>
                </c:pt>
                <c:pt idx="46">
                  <c:v>13.II.21</c:v>
                </c:pt>
                <c:pt idx="47">
                  <c:v>14.II.21</c:v>
                </c:pt>
                <c:pt idx="48">
                  <c:v>15.II.21</c:v>
                </c:pt>
                <c:pt idx="49">
                  <c:v>16.II.21</c:v>
                </c:pt>
                <c:pt idx="50">
                  <c:v>17.II.21</c:v>
                </c:pt>
                <c:pt idx="51">
                  <c:v>18.II.21</c:v>
                </c:pt>
                <c:pt idx="52">
                  <c:v>19.II.21</c:v>
                </c:pt>
                <c:pt idx="53">
                  <c:v>20.II.21</c:v>
                </c:pt>
                <c:pt idx="54">
                  <c:v>21.II.21</c:v>
                </c:pt>
                <c:pt idx="55">
                  <c:v>22.II.21</c:v>
                </c:pt>
                <c:pt idx="56">
                  <c:v>23.II.21</c:v>
                </c:pt>
                <c:pt idx="57">
                  <c:v>24.II.21</c:v>
                </c:pt>
                <c:pt idx="58">
                  <c:v>25.II.21</c:v>
                </c:pt>
                <c:pt idx="59">
                  <c:v>26.II.21</c:v>
                </c:pt>
                <c:pt idx="60">
                  <c:v>27.II.21</c:v>
                </c:pt>
                <c:pt idx="61">
                  <c:v>28.II.21</c:v>
                </c:pt>
                <c:pt idx="62">
                  <c:v>1.III.21</c:v>
                </c:pt>
                <c:pt idx="63">
                  <c:v>2.III.21</c:v>
                </c:pt>
                <c:pt idx="64">
                  <c:v>3.III.21</c:v>
                </c:pt>
                <c:pt idx="65">
                  <c:v>4.III.21</c:v>
                </c:pt>
                <c:pt idx="66">
                  <c:v>5.III.21</c:v>
                </c:pt>
                <c:pt idx="67">
                  <c:v>6.III.21</c:v>
                </c:pt>
                <c:pt idx="68">
                  <c:v>7.III.21</c:v>
                </c:pt>
                <c:pt idx="69">
                  <c:v>8.III.21</c:v>
                </c:pt>
                <c:pt idx="70">
                  <c:v>9.III.21</c:v>
                </c:pt>
                <c:pt idx="71">
                  <c:v>10.III.21</c:v>
                </c:pt>
                <c:pt idx="72">
                  <c:v>11.III.21</c:v>
                </c:pt>
                <c:pt idx="73">
                  <c:v>12.III.21</c:v>
                </c:pt>
                <c:pt idx="74">
                  <c:v>13.III.21</c:v>
                </c:pt>
                <c:pt idx="75">
                  <c:v>14.III.21</c:v>
                </c:pt>
                <c:pt idx="76">
                  <c:v>15.III.21</c:v>
                </c:pt>
                <c:pt idx="77">
                  <c:v>16.III.21</c:v>
                </c:pt>
                <c:pt idx="78">
                  <c:v>17.III.21</c:v>
                </c:pt>
                <c:pt idx="79">
                  <c:v>18.III.21</c:v>
                </c:pt>
                <c:pt idx="80">
                  <c:v>19.III.21</c:v>
                </c:pt>
                <c:pt idx="81">
                  <c:v>20.III.21</c:v>
                </c:pt>
                <c:pt idx="82">
                  <c:v>21.III.21</c:v>
                </c:pt>
                <c:pt idx="83">
                  <c:v>22.III.21</c:v>
                </c:pt>
                <c:pt idx="84">
                  <c:v>23.III.21</c:v>
                </c:pt>
                <c:pt idx="85">
                  <c:v>24.III.21</c:v>
                </c:pt>
                <c:pt idx="86">
                  <c:v>25.III.21</c:v>
                </c:pt>
                <c:pt idx="87">
                  <c:v>26.III.21</c:v>
                </c:pt>
                <c:pt idx="88">
                  <c:v>27.III.21</c:v>
                </c:pt>
                <c:pt idx="89">
                  <c:v>28.III.21</c:v>
                </c:pt>
                <c:pt idx="90">
                  <c:v>29.III.21</c:v>
                </c:pt>
                <c:pt idx="91">
                  <c:v>30.III.21</c:v>
                </c:pt>
                <c:pt idx="92">
                  <c:v>31.III.21</c:v>
                </c:pt>
                <c:pt idx="93">
                  <c:v>1.IV.21</c:v>
                </c:pt>
                <c:pt idx="94">
                  <c:v>2.IV.21</c:v>
                </c:pt>
                <c:pt idx="95">
                  <c:v>3.IV.21</c:v>
                </c:pt>
                <c:pt idx="96">
                  <c:v>4.IV.21</c:v>
                </c:pt>
                <c:pt idx="97">
                  <c:v>5.IV.21</c:v>
                </c:pt>
                <c:pt idx="98">
                  <c:v>6.IV.21</c:v>
                </c:pt>
                <c:pt idx="99">
                  <c:v>7.IV.21</c:v>
                </c:pt>
                <c:pt idx="100">
                  <c:v>8.IV.21</c:v>
                </c:pt>
                <c:pt idx="101">
                  <c:v>9.IV.21</c:v>
                </c:pt>
                <c:pt idx="102">
                  <c:v>10.IV.21</c:v>
                </c:pt>
                <c:pt idx="103">
                  <c:v>11.IV.21</c:v>
                </c:pt>
                <c:pt idx="104">
                  <c:v>12.IV.21</c:v>
                </c:pt>
                <c:pt idx="105">
                  <c:v>13.IV.21</c:v>
                </c:pt>
                <c:pt idx="106">
                  <c:v>14.IV.21</c:v>
                </c:pt>
                <c:pt idx="107">
                  <c:v>15.IV.21</c:v>
                </c:pt>
                <c:pt idx="108">
                  <c:v>16.IV.21</c:v>
                </c:pt>
                <c:pt idx="109">
                  <c:v>17.IV.21</c:v>
                </c:pt>
                <c:pt idx="110">
                  <c:v>18.IV.21</c:v>
                </c:pt>
                <c:pt idx="111">
                  <c:v>19.IV.21</c:v>
                </c:pt>
                <c:pt idx="112">
                  <c:v>20.IV.21</c:v>
                </c:pt>
                <c:pt idx="113">
                  <c:v>21.IV.21</c:v>
                </c:pt>
                <c:pt idx="114">
                  <c:v>22.IV.21</c:v>
                </c:pt>
                <c:pt idx="115">
                  <c:v>23.IV.21</c:v>
                </c:pt>
                <c:pt idx="116">
                  <c:v>24.IV.21</c:v>
                </c:pt>
                <c:pt idx="117">
                  <c:v>25.IV.21</c:v>
                </c:pt>
                <c:pt idx="118">
                  <c:v>26.IV.21</c:v>
                </c:pt>
                <c:pt idx="119">
                  <c:v>27.IV.21</c:v>
                </c:pt>
                <c:pt idx="120">
                  <c:v>28.IV.21</c:v>
                </c:pt>
                <c:pt idx="121">
                  <c:v>29.IV.21</c:v>
                </c:pt>
                <c:pt idx="122">
                  <c:v>30.IV.21</c:v>
                </c:pt>
                <c:pt idx="123">
                  <c:v>1.V.21</c:v>
                </c:pt>
                <c:pt idx="124">
                  <c:v>2.V.21</c:v>
                </c:pt>
                <c:pt idx="125">
                  <c:v>3.V.21</c:v>
                </c:pt>
                <c:pt idx="126">
                  <c:v>4.V.21</c:v>
                </c:pt>
                <c:pt idx="127">
                  <c:v>5.V.21</c:v>
                </c:pt>
                <c:pt idx="128">
                  <c:v>6.V.21</c:v>
                </c:pt>
                <c:pt idx="129">
                  <c:v>7.V.21</c:v>
                </c:pt>
                <c:pt idx="130">
                  <c:v>8.V.21</c:v>
                </c:pt>
                <c:pt idx="131">
                  <c:v>9.V.21</c:v>
                </c:pt>
                <c:pt idx="132">
                  <c:v>10.V.21</c:v>
                </c:pt>
                <c:pt idx="133">
                  <c:v>11.V.21</c:v>
                </c:pt>
                <c:pt idx="134">
                  <c:v>12.V.21</c:v>
                </c:pt>
                <c:pt idx="135">
                  <c:v>13.V.21</c:v>
                </c:pt>
                <c:pt idx="136">
                  <c:v>14.V.21</c:v>
                </c:pt>
                <c:pt idx="137">
                  <c:v>15.V.21</c:v>
                </c:pt>
                <c:pt idx="138">
                  <c:v>16.V.21</c:v>
                </c:pt>
                <c:pt idx="139">
                  <c:v>17.V.21</c:v>
                </c:pt>
                <c:pt idx="140">
                  <c:v>18.V.21</c:v>
                </c:pt>
                <c:pt idx="141">
                  <c:v>19.V.21</c:v>
                </c:pt>
                <c:pt idx="142">
                  <c:v>20.V.21</c:v>
                </c:pt>
                <c:pt idx="143">
                  <c:v>21.V.21</c:v>
                </c:pt>
                <c:pt idx="144">
                  <c:v>22.V.21</c:v>
                </c:pt>
                <c:pt idx="145">
                  <c:v>23.V.21</c:v>
                </c:pt>
                <c:pt idx="146">
                  <c:v>24.V.21</c:v>
                </c:pt>
                <c:pt idx="147">
                  <c:v>25.V.21</c:v>
                </c:pt>
                <c:pt idx="148">
                  <c:v>26.V.21</c:v>
                </c:pt>
                <c:pt idx="149">
                  <c:v>27.V.21</c:v>
                </c:pt>
                <c:pt idx="150">
                  <c:v>28.V.21</c:v>
                </c:pt>
                <c:pt idx="151">
                  <c:v>29.V.21</c:v>
                </c:pt>
                <c:pt idx="152">
                  <c:v>30.V.21</c:v>
                </c:pt>
                <c:pt idx="153">
                  <c:v>31.V.21</c:v>
                </c:pt>
                <c:pt idx="154">
                  <c:v>1.VI.21</c:v>
                </c:pt>
                <c:pt idx="155">
                  <c:v>2.VI.21</c:v>
                </c:pt>
                <c:pt idx="156">
                  <c:v>3.VI.21</c:v>
                </c:pt>
                <c:pt idx="157">
                  <c:v>4.VI.21</c:v>
                </c:pt>
                <c:pt idx="158">
                  <c:v>5.VI.21</c:v>
                </c:pt>
                <c:pt idx="159">
                  <c:v>6.VI.21</c:v>
                </c:pt>
                <c:pt idx="160">
                  <c:v>7.VI.21</c:v>
                </c:pt>
                <c:pt idx="161">
                  <c:v>8.VI.21</c:v>
                </c:pt>
                <c:pt idx="162">
                  <c:v>9.VI.21</c:v>
                </c:pt>
                <c:pt idx="163">
                  <c:v>10.VI.21</c:v>
                </c:pt>
                <c:pt idx="164">
                  <c:v>11.VI.21</c:v>
                </c:pt>
                <c:pt idx="165">
                  <c:v>12.VI.21</c:v>
                </c:pt>
                <c:pt idx="166">
                  <c:v>13.VI.21</c:v>
                </c:pt>
                <c:pt idx="167">
                  <c:v>14.VI.21</c:v>
                </c:pt>
                <c:pt idx="168">
                  <c:v>15.VI.21</c:v>
                </c:pt>
                <c:pt idx="169">
                  <c:v>16.VI.21</c:v>
                </c:pt>
                <c:pt idx="170">
                  <c:v>17.VI.21</c:v>
                </c:pt>
                <c:pt idx="171">
                  <c:v>18.VI.21</c:v>
                </c:pt>
                <c:pt idx="172">
                  <c:v>19.VI.21</c:v>
                </c:pt>
                <c:pt idx="173">
                  <c:v>20.VI.21</c:v>
                </c:pt>
                <c:pt idx="174">
                  <c:v>21.VI.21</c:v>
                </c:pt>
                <c:pt idx="175">
                  <c:v>22.VI.21</c:v>
                </c:pt>
                <c:pt idx="176">
                  <c:v>23.VI.21</c:v>
                </c:pt>
                <c:pt idx="177">
                  <c:v>24.VI.21</c:v>
                </c:pt>
                <c:pt idx="178">
                  <c:v>25.VI.21</c:v>
                </c:pt>
                <c:pt idx="179">
                  <c:v>26.VI.21</c:v>
                </c:pt>
                <c:pt idx="180">
                  <c:v>27.VI.21</c:v>
                </c:pt>
                <c:pt idx="181">
                  <c:v>28.VI.21</c:v>
                </c:pt>
                <c:pt idx="182">
                  <c:v>29.VI.21</c:v>
                </c:pt>
                <c:pt idx="183">
                  <c:v>30.VI.21</c:v>
                </c:pt>
                <c:pt idx="184">
                  <c:v>1.VII.21</c:v>
                </c:pt>
                <c:pt idx="185">
                  <c:v>2.VII.21</c:v>
                </c:pt>
                <c:pt idx="186">
                  <c:v>3.VII.21</c:v>
                </c:pt>
                <c:pt idx="187">
                  <c:v>4.VII.21</c:v>
                </c:pt>
                <c:pt idx="188">
                  <c:v>5.VII.21</c:v>
                </c:pt>
                <c:pt idx="189">
                  <c:v>6.VII.21</c:v>
                </c:pt>
                <c:pt idx="190">
                  <c:v>7.VII.21</c:v>
                </c:pt>
                <c:pt idx="191">
                  <c:v>8.VII.21</c:v>
                </c:pt>
                <c:pt idx="192">
                  <c:v>9.VII.21</c:v>
                </c:pt>
                <c:pt idx="193">
                  <c:v>10.VII.21</c:v>
                </c:pt>
                <c:pt idx="194">
                  <c:v>11.VII.21</c:v>
                </c:pt>
                <c:pt idx="195">
                  <c:v>12.VII.21</c:v>
                </c:pt>
                <c:pt idx="196">
                  <c:v>13.VII.21</c:v>
                </c:pt>
                <c:pt idx="197">
                  <c:v>14.VII.21</c:v>
                </c:pt>
                <c:pt idx="198">
                  <c:v>15.VII.21</c:v>
                </c:pt>
                <c:pt idx="199">
                  <c:v>16.VII.21</c:v>
                </c:pt>
                <c:pt idx="200">
                  <c:v>17.VII.21</c:v>
                </c:pt>
                <c:pt idx="201">
                  <c:v>18.VII.21</c:v>
                </c:pt>
                <c:pt idx="202">
                  <c:v>19.VII.21</c:v>
                </c:pt>
                <c:pt idx="203">
                  <c:v>20.VII.21</c:v>
                </c:pt>
                <c:pt idx="204">
                  <c:v>21.VII.21</c:v>
                </c:pt>
                <c:pt idx="205">
                  <c:v>22.VII.21</c:v>
                </c:pt>
                <c:pt idx="206">
                  <c:v>23.VII.21</c:v>
                </c:pt>
                <c:pt idx="207">
                  <c:v>24.VII.21</c:v>
                </c:pt>
                <c:pt idx="208">
                  <c:v>25.VII.21</c:v>
                </c:pt>
                <c:pt idx="209">
                  <c:v>26.VII.21</c:v>
                </c:pt>
                <c:pt idx="210">
                  <c:v>27.VII.21</c:v>
                </c:pt>
                <c:pt idx="211">
                  <c:v>28.VII.21</c:v>
                </c:pt>
                <c:pt idx="212">
                  <c:v>29.VII.21</c:v>
                </c:pt>
                <c:pt idx="213">
                  <c:v>30.VII.21</c:v>
                </c:pt>
                <c:pt idx="214">
                  <c:v>31.VII.21</c:v>
                </c:pt>
                <c:pt idx="215">
                  <c:v>1.VIII.21</c:v>
                </c:pt>
                <c:pt idx="216">
                  <c:v>2.VIII.21</c:v>
                </c:pt>
                <c:pt idx="217">
                  <c:v>3.VIII.21</c:v>
                </c:pt>
                <c:pt idx="218">
                  <c:v>4.VIII.21</c:v>
                </c:pt>
                <c:pt idx="219">
                  <c:v>5.VIII.21</c:v>
                </c:pt>
                <c:pt idx="220">
                  <c:v>6.VIII.21</c:v>
                </c:pt>
                <c:pt idx="221">
                  <c:v>7.VIII.21</c:v>
                </c:pt>
                <c:pt idx="222">
                  <c:v>8.VIII.21</c:v>
                </c:pt>
                <c:pt idx="223">
                  <c:v>9.VIII.21</c:v>
                </c:pt>
                <c:pt idx="224">
                  <c:v>10.VIII.21</c:v>
                </c:pt>
                <c:pt idx="225">
                  <c:v>11.VIII.21</c:v>
                </c:pt>
                <c:pt idx="226">
                  <c:v>12.VIII.21</c:v>
                </c:pt>
                <c:pt idx="227">
                  <c:v>13.VIII.21</c:v>
                </c:pt>
                <c:pt idx="228">
                  <c:v>14.VIII.21</c:v>
                </c:pt>
                <c:pt idx="229">
                  <c:v>15.VIII.21</c:v>
                </c:pt>
                <c:pt idx="230">
                  <c:v>16.VIII.21</c:v>
                </c:pt>
                <c:pt idx="231">
                  <c:v>17.VIII.21</c:v>
                </c:pt>
                <c:pt idx="232">
                  <c:v>18.VIII.21</c:v>
                </c:pt>
                <c:pt idx="233">
                  <c:v>19.VIII.21</c:v>
                </c:pt>
                <c:pt idx="234">
                  <c:v>20.VIII.21</c:v>
                </c:pt>
                <c:pt idx="235">
                  <c:v>21.VIII.21</c:v>
                </c:pt>
                <c:pt idx="236">
                  <c:v>22.VIII.21</c:v>
                </c:pt>
                <c:pt idx="237">
                  <c:v>23.VIII.21</c:v>
                </c:pt>
                <c:pt idx="238">
                  <c:v>24.VIII.21</c:v>
                </c:pt>
                <c:pt idx="239">
                  <c:v>25.VIII.21</c:v>
                </c:pt>
                <c:pt idx="240">
                  <c:v>26.VIII.21</c:v>
                </c:pt>
                <c:pt idx="241">
                  <c:v>27.VIII.21</c:v>
                </c:pt>
                <c:pt idx="242">
                  <c:v>28.VIII.21</c:v>
                </c:pt>
                <c:pt idx="243">
                  <c:v>29.VIII.21</c:v>
                </c:pt>
                <c:pt idx="244">
                  <c:v>30.VIII.21</c:v>
                </c:pt>
                <c:pt idx="245">
                  <c:v>31.VIII.21</c:v>
                </c:pt>
                <c:pt idx="246">
                  <c:v>1.IX.21</c:v>
                </c:pt>
                <c:pt idx="247">
                  <c:v>2.IX.21</c:v>
                </c:pt>
                <c:pt idx="248">
                  <c:v>3.IX.21</c:v>
                </c:pt>
                <c:pt idx="249">
                  <c:v>4.IX.21</c:v>
                </c:pt>
                <c:pt idx="250">
                  <c:v>5.IX.21</c:v>
                </c:pt>
                <c:pt idx="251">
                  <c:v>6.IX.21</c:v>
                </c:pt>
                <c:pt idx="252">
                  <c:v>7.IX.21</c:v>
                </c:pt>
                <c:pt idx="253">
                  <c:v>8.IX.21</c:v>
                </c:pt>
                <c:pt idx="254">
                  <c:v>9.IX.21</c:v>
                </c:pt>
                <c:pt idx="255">
                  <c:v>10.IX.21</c:v>
                </c:pt>
                <c:pt idx="256">
                  <c:v>11.IX.21</c:v>
                </c:pt>
                <c:pt idx="257">
                  <c:v>12.IX.21</c:v>
                </c:pt>
                <c:pt idx="258">
                  <c:v>13.IX.21</c:v>
                </c:pt>
                <c:pt idx="259">
                  <c:v>14.IX.21</c:v>
                </c:pt>
                <c:pt idx="260">
                  <c:v>15.IX.21</c:v>
                </c:pt>
                <c:pt idx="261">
                  <c:v>16.IX.21</c:v>
                </c:pt>
                <c:pt idx="262">
                  <c:v>17.IX.21</c:v>
                </c:pt>
                <c:pt idx="263">
                  <c:v>18.IX.21</c:v>
                </c:pt>
                <c:pt idx="264">
                  <c:v>19.IX.21</c:v>
                </c:pt>
                <c:pt idx="265">
                  <c:v>20.IX.21</c:v>
                </c:pt>
                <c:pt idx="266">
                  <c:v>21.IX.21</c:v>
                </c:pt>
                <c:pt idx="267">
                  <c:v>22.IX.21</c:v>
                </c:pt>
                <c:pt idx="268">
                  <c:v>23.IX.21</c:v>
                </c:pt>
                <c:pt idx="269">
                  <c:v>24.IX.21</c:v>
                </c:pt>
                <c:pt idx="270">
                  <c:v>25.IX.21</c:v>
                </c:pt>
                <c:pt idx="271">
                  <c:v>26.IX.21</c:v>
                </c:pt>
                <c:pt idx="272">
                  <c:v>27.IX.21</c:v>
                </c:pt>
                <c:pt idx="273">
                  <c:v>28.IX.21</c:v>
                </c:pt>
                <c:pt idx="274">
                  <c:v>29.IX.21</c:v>
                </c:pt>
                <c:pt idx="275">
                  <c:v>30.IX.21</c:v>
                </c:pt>
                <c:pt idx="276">
                  <c:v>1.X.21</c:v>
                </c:pt>
                <c:pt idx="277">
                  <c:v>2.X.21</c:v>
                </c:pt>
                <c:pt idx="278">
                  <c:v>3.X.21</c:v>
                </c:pt>
                <c:pt idx="279">
                  <c:v>4.X.21</c:v>
                </c:pt>
                <c:pt idx="280">
                  <c:v>5.X.21</c:v>
                </c:pt>
                <c:pt idx="281">
                  <c:v>6.X.21</c:v>
                </c:pt>
                <c:pt idx="282">
                  <c:v>7.X.21</c:v>
                </c:pt>
                <c:pt idx="283">
                  <c:v>8.X.21</c:v>
                </c:pt>
                <c:pt idx="284">
                  <c:v>9.X.21</c:v>
                </c:pt>
                <c:pt idx="285">
                  <c:v>10.X.21</c:v>
                </c:pt>
                <c:pt idx="286">
                  <c:v>11.X.21</c:v>
                </c:pt>
                <c:pt idx="287">
                  <c:v>12.X.21</c:v>
                </c:pt>
                <c:pt idx="288">
                  <c:v>13.X.21</c:v>
                </c:pt>
                <c:pt idx="289">
                  <c:v>14.X.21</c:v>
                </c:pt>
                <c:pt idx="290">
                  <c:v>15.X.21</c:v>
                </c:pt>
                <c:pt idx="291">
                  <c:v>16.X.21</c:v>
                </c:pt>
                <c:pt idx="292">
                  <c:v>17.X.21</c:v>
                </c:pt>
                <c:pt idx="293">
                  <c:v>18.X.21</c:v>
                </c:pt>
                <c:pt idx="294">
                  <c:v>19.X.21</c:v>
                </c:pt>
                <c:pt idx="295">
                  <c:v>20.X.21</c:v>
                </c:pt>
                <c:pt idx="296">
                  <c:v>21.X.21</c:v>
                </c:pt>
                <c:pt idx="297">
                  <c:v>22.X.21</c:v>
                </c:pt>
                <c:pt idx="298">
                  <c:v>23.X.21</c:v>
                </c:pt>
                <c:pt idx="299">
                  <c:v>24.X.21</c:v>
                </c:pt>
                <c:pt idx="300">
                  <c:v>25.X.21</c:v>
                </c:pt>
                <c:pt idx="301">
                  <c:v>26.X.21</c:v>
                </c:pt>
                <c:pt idx="302">
                  <c:v>27.X.21</c:v>
                </c:pt>
                <c:pt idx="303">
                  <c:v>28.X.21</c:v>
                </c:pt>
                <c:pt idx="304">
                  <c:v>29.X.21</c:v>
                </c:pt>
                <c:pt idx="305">
                  <c:v>30.X.21</c:v>
                </c:pt>
                <c:pt idx="306">
                  <c:v>31.X.21</c:v>
                </c:pt>
                <c:pt idx="307">
                  <c:v>1.XI.21</c:v>
                </c:pt>
                <c:pt idx="308">
                  <c:v>2.XI.21</c:v>
                </c:pt>
                <c:pt idx="309">
                  <c:v>3.XI.21</c:v>
                </c:pt>
                <c:pt idx="310">
                  <c:v>4.XI.21</c:v>
                </c:pt>
                <c:pt idx="311">
                  <c:v>5.XI.21</c:v>
                </c:pt>
                <c:pt idx="312">
                  <c:v>6.XI.21</c:v>
                </c:pt>
                <c:pt idx="313">
                  <c:v>7.XI.21</c:v>
                </c:pt>
                <c:pt idx="314">
                  <c:v>8.XI.21</c:v>
                </c:pt>
                <c:pt idx="315">
                  <c:v>9.XI.21</c:v>
                </c:pt>
                <c:pt idx="316">
                  <c:v>10.XI.21</c:v>
                </c:pt>
                <c:pt idx="317">
                  <c:v>11.XI.21</c:v>
                </c:pt>
                <c:pt idx="318">
                  <c:v>12.XI.21</c:v>
                </c:pt>
                <c:pt idx="319">
                  <c:v>13.XI.21</c:v>
                </c:pt>
                <c:pt idx="320">
                  <c:v>14.XI.21</c:v>
                </c:pt>
                <c:pt idx="321">
                  <c:v>15.XI.21</c:v>
                </c:pt>
                <c:pt idx="322">
                  <c:v>16.XI.21</c:v>
                </c:pt>
                <c:pt idx="323">
                  <c:v>17.XI.21</c:v>
                </c:pt>
                <c:pt idx="324">
                  <c:v>18.XI.21</c:v>
                </c:pt>
                <c:pt idx="325">
                  <c:v>19.XI.21</c:v>
                </c:pt>
                <c:pt idx="326">
                  <c:v>20.XI.21</c:v>
                </c:pt>
                <c:pt idx="327">
                  <c:v>21.XI.21</c:v>
                </c:pt>
                <c:pt idx="328">
                  <c:v>22.XI.21</c:v>
                </c:pt>
                <c:pt idx="329">
                  <c:v>23.XI.21</c:v>
                </c:pt>
                <c:pt idx="330">
                  <c:v>24.XI.21</c:v>
                </c:pt>
                <c:pt idx="331">
                  <c:v>25.XI.21</c:v>
                </c:pt>
                <c:pt idx="332">
                  <c:v>26.XI.21</c:v>
                </c:pt>
                <c:pt idx="333">
                  <c:v>27.XI.21</c:v>
                </c:pt>
                <c:pt idx="334">
                  <c:v>28.XI.21</c:v>
                </c:pt>
                <c:pt idx="335">
                  <c:v>29.XI.21</c:v>
                </c:pt>
                <c:pt idx="336">
                  <c:v>30.XI.21</c:v>
                </c:pt>
                <c:pt idx="337">
                  <c:v>1.XII.21</c:v>
                </c:pt>
                <c:pt idx="338">
                  <c:v>2.XII.21</c:v>
                </c:pt>
                <c:pt idx="339">
                  <c:v>3.XII.21</c:v>
                </c:pt>
                <c:pt idx="340">
                  <c:v>4.XII.21</c:v>
                </c:pt>
                <c:pt idx="341">
                  <c:v>5.XII.21</c:v>
                </c:pt>
                <c:pt idx="342">
                  <c:v>6.XII.21</c:v>
                </c:pt>
                <c:pt idx="343">
                  <c:v>7.XII.21</c:v>
                </c:pt>
                <c:pt idx="344">
                  <c:v>8.XII.21</c:v>
                </c:pt>
                <c:pt idx="345">
                  <c:v>9.XII.21</c:v>
                </c:pt>
                <c:pt idx="346">
                  <c:v>10.XII.21</c:v>
                </c:pt>
                <c:pt idx="347">
                  <c:v>11.XII.21</c:v>
                </c:pt>
                <c:pt idx="348">
                  <c:v>12.XII.21</c:v>
                </c:pt>
                <c:pt idx="349">
                  <c:v>13.XII.21</c:v>
                </c:pt>
                <c:pt idx="350">
                  <c:v>14.XII.21</c:v>
                </c:pt>
                <c:pt idx="351">
                  <c:v>15.XII.21</c:v>
                </c:pt>
                <c:pt idx="352">
                  <c:v>16.XII.21</c:v>
                </c:pt>
                <c:pt idx="353">
                  <c:v>17.XII.21</c:v>
                </c:pt>
                <c:pt idx="354">
                  <c:v>18.XII.21</c:v>
                </c:pt>
                <c:pt idx="355">
                  <c:v>19.XII.21</c:v>
                </c:pt>
                <c:pt idx="356">
                  <c:v>20.XII.21</c:v>
                </c:pt>
                <c:pt idx="357">
                  <c:v>21.XII.21</c:v>
                </c:pt>
                <c:pt idx="358">
                  <c:v>22.XII.21</c:v>
                </c:pt>
                <c:pt idx="359">
                  <c:v>23.XII.21</c:v>
                </c:pt>
                <c:pt idx="360">
                  <c:v>24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  <c:pt idx="372">
                  <c:v>8.I.22</c:v>
                </c:pt>
                <c:pt idx="373">
                  <c:v>9.I.22</c:v>
                </c:pt>
                <c:pt idx="374">
                  <c:v>10.I.22</c:v>
                </c:pt>
                <c:pt idx="375">
                  <c:v>11.I.22</c:v>
                </c:pt>
                <c:pt idx="376">
                  <c:v>12.I.22</c:v>
                </c:pt>
                <c:pt idx="377">
                  <c:v>13.I.22</c:v>
                </c:pt>
                <c:pt idx="378">
                  <c:v>14.I.22</c:v>
                </c:pt>
                <c:pt idx="379">
                  <c:v>15.I.22</c:v>
                </c:pt>
                <c:pt idx="380">
                  <c:v>16.I.22</c:v>
                </c:pt>
                <c:pt idx="381">
                  <c:v>17.I.22</c:v>
                </c:pt>
                <c:pt idx="382">
                  <c:v>18.I.22</c:v>
                </c:pt>
                <c:pt idx="383">
                  <c:v>19.I.22</c:v>
                </c:pt>
                <c:pt idx="384">
                  <c:v>20.I.22</c:v>
                </c:pt>
                <c:pt idx="385">
                  <c:v>21.I.22</c:v>
                </c:pt>
                <c:pt idx="386">
                  <c:v>22.I.22</c:v>
                </c:pt>
                <c:pt idx="387">
                  <c:v>23.I.22</c:v>
                </c:pt>
                <c:pt idx="388">
                  <c:v>24.I.22</c:v>
                </c:pt>
                <c:pt idx="389">
                  <c:v>25.I.22</c:v>
                </c:pt>
                <c:pt idx="390">
                  <c:v>26.I.22</c:v>
                </c:pt>
                <c:pt idx="391">
                  <c:v>27.I.22</c:v>
                </c:pt>
                <c:pt idx="392">
                  <c:v>28.I.22</c:v>
                </c:pt>
                <c:pt idx="393">
                  <c:v>29.I.22</c:v>
                </c:pt>
                <c:pt idx="394">
                  <c:v>30.I.22</c:v>
                </c:pt>
                <c:pt idx="395">
                  <c:v>31.I.22</c:v>
                </c:pt>
                <c:pt idx="396">
                  <c:v>1.II.22</c:v>
                </c:pt>
                <c:pt idx="397">
                  <c:v>2.II.22</c:v>
                </c:pt>
                <c:pt idx="398">
                  <c:v>3.II.22</c:v>
                </c:pt>
                <c:pt idx="399">
                  <c:v>4.II.22</c:v>
                </c:pt>
              </c:strCache>
            </c:strRef>
          </c:cat>
          <c:val>
            <c:numRef>
              <c:f>List1!$K$3:$OT$3</c:f>
              <c:numCache>
                <c:formatCode>General</c:formatCode>
                <c:ptCount val="400"/>
                <c:pt idx="0">
                  <c:v>2232</c:v>
                </c:pt>
                <c:pt idx="1">
                  <c:v>3368</c:v>
                </c:pt>
                <c:pt idx="2">
                  <c:v>3749</c:v>
                </c:pt>
                <c:pt idx="3">
                  <c:v>3868</c:v>
                </c:pt>
                <c:pt idx="4">
                  <c:v>4349</c:v>
                </c:pt>
                <c:pt idx="5">
                  <c:v>4667</c:v>
                </c:pt>
                <c:pt idx="6">
                  <c:v>6013</c:v>
                </c:pt>
                <c:pt idx="7">
                  <c:v>7656</c:v>
                </c:pt>
                <c:pt idx="8">
                  <c:v>9669</c:v>
                </c:pt>
                <c:pt idx="9">
                  <c:v>12225</c:v>
                </c:pt>
                <c:pt idx="10">
                  <c:v>15356</c:v>
                </c:pt>
                <c:pt idx="11">
                  <c:v>15802</c:v>
                </c:pt>
                <c:pt idx="12">
                  <c:v>16158</c:v>
                </c:pt>
                <c:pt idx="13">
                  <c:v>18959</c:v>
                </c:pt>
                <c:pt idx="14">
                  <c:v>22151</c:v>
                </c:pt>
                <c:pt idx="15">
                  <c:v>25017</c:v>
                </c:pt>
                <c:pt idx="16">
                  <c:v>28207</c:v>
                </c:pt>
                <c:pt idx="17">
                  <c:v>30989</c:v>
                </c:pt>
                <c:pt idx="18">
                  <c:v>31370</c:v>
                </c:pt>
                <c:pt idx="19">
                  <c:v>31597</c:v>
                </c:pt>
                <c:pt idx="20">
                  <c:v>33553</c:v>
                </c:pt>
                <c:pt idx="21">
                  <c:v>35242</c:v>
                </c:pt>
                <c:pt idx="22">
                  <c:v>36890</c:v>
                </c:pt>
                <c:pt idx="23">
                  <c:v>38425</c:v>
                </c:pt>
                <c:pt idx="24">
                  <c:v>39735</c:v>
                </c:pt>
                <c:pt idx="25">
                  <c:v>39892</c:v>
                </c:pt>
                <c:pt idx="26">
                  <c:v>40001</c:v>
                </c:pt>
                <c:pt idx="27">
                  <c:v>40646</c:v>
                </c:pt>
                <c:pt idx="28">
                  <c:v>41420</c:v>
                </c:pt>
                <c:pt idx="29">
                  <c:v>42074</c:v>
                </c:pt>
                <c:pt idx="30">
                  <c:v>42682</c:v>
                </c:pt>
                <c:pt idx="31">
                  <c:v>43246</c:v>
                </c:pt>
                <c:pt idx="32">
                  <c:v>43268</c:v>
                </c:pt>
                <c:pt idx="33">
                  <c:v>43286</c:v>
                </c:pt>
                <c:pt idx="34">
                  <c:v>43644</c:v>
                </c:pt>
                <c:pt idx="35">
                  <c:v>43986</c:v>
                </c:pt>
                <c:pt idx="36">
                  <c:v>44347</c:v>
                </c:pt>
                <c:pt idx="37">
                  <c:v>44677</c:v>
                </c:pt>
                <c:pt idx="38">
                  <c:v>45095</c:v>
                </c:pt>
                <c:pt idx="39">
                  <c:v>45117</c:v>
                </c:pt>
                <c:pt idx="40">
                  <c:v>45138</c:v>
                </c:pt>
                <c:pt idx="41">
                  <c:v>45407</c:v>
                </c:pt>
                <c:pt idx="42">
                  <c:v>45729</c:v>
                </c:pt>
                <c:pt idx="43">
                  <c:v>46132</c:v>
                </c:pt>
                <c:pt idx="44">
                  <c:v>46605</c:v>
                </c:pt>
                <c:pt idx="45">
                  <c:v>47137</c:v>
                </c:pt>
                <c:pt idx="46">
                  <c:v>47311</c:v>
                </c:pt>
                <c:pt idx="47">
                  <c:v>47365</c:v>
                </c:pt>
                <c:pt idx="48">
                  <c:v>47917</c:v>
                </c:pt>
                <c:pt idx="49">
                  <c:v>48405</c:v>
                </c:pt>
                <c:pt idx="50">
                  <c:v>48975</c:v>
                </c:pt>
                <c:pt idx="51">
                  <c:v>49644</c:v>
                </c:pt>
                <c:pt idx="52">
                  <c:v>50401</c:v>
                </c:pt>
                <c:pt idx="53">
                  <c:v>50529</c:v>
                </c:pt>
                <c:pt idx="54">
                  <c:v>50588</c:v>
                </c:pt>
                <c:pt idx="55">
                  <c:v>51185</c:v>
                </c:pt>
                <c:pt idx="56">
                  <c:v>52001</c:v>
                </c:pt>
                <c:pt idx="57">
                  <c:v>52825</c:v>
                </c:pt>
                <c:pt idx="58">
                  <c:v>54051</c:v>
                </c:pt>
                <c:pt idx="59">
                  <c:v>55041</c:v>
                </c:pt>
                <c:pt idx="60">
                  <c:v>55116</c:v>
                </c:pt>
                <c:pt idx="61">
                  <c:v>55164</c:v>
                </c:pt>
                <c:pt idx="62">
                  <c:v>56052</c:v>
                </c:pt>
                <c:pt idx="63">
                  <c:v>57004</c:v>
                </c:pt>
                <c:pt idx="64">
                  <c:v>57999</c:v>
                </c:pt>
                <c:pt idx="65">
                  <c:v>58909</c:v>
                </c:pt>
                <c:pt idx="66">
                  <c:v>60097</c:v>
                </c:pt>
                <c:pt idx="67">
                  <c:v>60347</c:v>
                </c:pt>
                <c:pt idx="68">
                  <c:v>60538</c:v>
                </c:pt>
                <c:pt idx="69">
                  <c:v>61316</c:v>
                </c:pt>
                <c:pt idx="70">
                  <c:v>62243</c:v>
                </c:pt>
                <c:pt idx="71">
                  <c:v>63191</c:v>
                </c:pt>
                <c:pt idx="72">
                  <c:v>64519</c:v>
                </c:pt>
                <c:pt idx="73">
                  <c:v>65623</c:v>
                </c:pt>
                <c:pt idx="74">
                  <c:v>65859</c:v>
                </c:pt>
                <c:pt idx="75">
                  <c:v>66102</c:v>
                </c:pt>
                <c:pt idx="76">
                  <c:v>66807</c:v>
                </c:pt>
                <c:pt idx="77">
                  <c:v>67848</c:v>
                </c:pt>
                <c:pt idx="78">
                  <c:v>68870</c:v>
                </c:pt>
                <c:pt idx="79">
                  <c:v>69764</c:v>
                </c:pt>
                <c:pt idx="80">
                  <c:v>70740</c:v>
                </c:pt>
                <c:pt idx="81">
                  <c:v>71100</c:v>
                </c:pt>
                <c:pt idx="82">
                  <c:v>71272</c:v>
                </c:pt>
                <c:pt idx="83">
                  <c:v>71805</c:v>
                </c:pt>
                <c:pt idx="84">
                  <c:v>72357</c:v>
                </c:pt>
                <c:pt idx="85">
                  <c:v>72863</c:v>
                </c:pt>
                <c:pt idx="86">
                  <c:v>73423</c:v>
                </c:pt>
                <c:pt idx="87">
                  <c:v>74004</c:v>
                </c:pt>
                <c:pt idx="88">
                  <c:v>74155</c:v>
                </c:pt>
                <c:pt idx="89">
                  <c:v>74322</c:v>
                </c:pt>
                <c:pt idx="90">
                  <c:v>74670</c:v>
                </c:pt>
                <c:pt idx="91">
                  <c:v>75116</c:v>
                </c:pt>
                <c:pt idx="92">
                  <c:v>75584</c:v>
                </c:pt>
                <c:pt idx="93">
                  <c:v>76038</c:v>
                </c:pt>
                <c:pt idx="94">
                  <c:v>76143</c:v>
                </c:pt>
                <c:pt idx="95">
                  <c:v>76185</c:v>
                </c:pt>
                <c:pt idx="96">
                  <c:v>76234</c:v>
                </c:pt>
                <c:pt idx="97">
                  <c:v>76270</c:v>
                </c:pt>
                <c:pt idx="98">
                  <c:v>76516</c:v>
                </c:pt>
                <c:pt idx="99">
                  <c:v>76834</c:v>
                </c:pt>
                <c:pt idx="100">
                  <c:v>77373</c:v>
                </c:pt>
                <c:pt idx="101">
                  <c:v>77947</c:v>
                </c:pt>
                <c:pt idx="102">
                  <c:v>78106</c:v>
                </c:pt>
                <c:pt idx="103">
                  <c:v>78207</c:v>
                </c:pt>
                <c:pt idx="104">
                  <c:v>78635</c:v>
                </c:pt>
                <c:pt idx="105">
                  <c:v>79014</c:v>
                </c:pt>
                <c:pt idx="106">
                  <c:v>79468</c:v>
                </c:pt>
                <c:pt idx="107">
                  <c:v>80128</c:v>
                </c:pt>
                <c:pt idx="108">
                  <c:v>80854</c:v>
                </c:pt>
                <c:pt idx="109">
                  <c:v>81058</c:v>
                </c:pt>
                <c:pt idx="110">
                  <c:v>81250</c:v>
                </c:pt>
                <c:pt idx="111">
                  <c:v>81772</c:v>
                </c:pt>
                <c:pt idx="112">
                  <c:v>82276</c:v>
                </c:pt>
                <c:pt idx="113">
                  <c:v>82935</c:v>
                </c:pt>
                <c:pt idx="114">
                  <c:v>83660</c:v>
                </c:pt>
                <c:pt idx="115">
                  <c:v>84371</c:v>
                </c:pt>
                <c:pt idx="116">
                  <c:v>84571</c:v>
                </c:pt>
                <c:pt idx="117">
                  <c:v>84759</c:v>
                </c:pt>
                <c:pt idx="118">
                  <c:v>85366</c:v>
                </c:pt>
                <c:pt idx="119">
                  <c:v>85914</c:v>
                </c:pt>
                <c:pt idx="120">
                  <c:v>86617</c:v>
                </c:pt>
                <c:pt idx="121">
                  <c:v>87374</c:v>
                </c:pt>
                <c:pt idx="122">
                  <c:v>88022</c:v>
                </c:pt>
                <c:pt idx="123">
                  <c:v>88176</c:v>
                </c:pt>
                <c:pt idx="124">
                  <c:v>88329</c:v>
                </c:pt>
                <c:pt idx="125">
                  <c:v>88838</c:v>
                </c:pt>
                <c:pt idx="126">
                  <c:v>89360</c:v>
                </c:pt>
                <c:pt idx="127">
                  <c:v>89885</c:v>
                </c:pt>
                <c:pt idx="128">
                  <c:v>90433</c:v>
                </c:pt>
                <c:pt idx="129">
                  <c:v>91005</c:v>
                </c:pt>
                <c:pt idx="130">
                  <c:v>91222</c:v>
                </c:pt>
                <c:pt idx="131">
                  <c:v>91329</c:v>
                </c:pt>
                <c:pt idx="132">
                  <c:v>91727</c:v>
                </c:pt>
                <c:pt idx="133">
                  <c:v>92206</c:v>
                </c:pt>
                <c:pt idx="134">
                  <c:v>92639</c:v>
                </c:pt>
                <c:pt idx="135">
                  <c:v>93074</c:v>
                </c:pt>
                <c:pt idx="136">
                  <c:v>93441</c:v>
                </c:pt>
                <c:pt idx="137">
                  <c:v>93603</c:v>
                </c:pt>
                <c:pt idx="138">
                  <c:v>93707</c:v>
                </c:pt>
                <c:pt idx="139">
                  <c:v>94024</c:v>
                </c:pt>
                <c:pt idx="140">
                  <c:v>94397</c:v>
                </c:pt>
                <c:pt idx="141">
                  <c:v>94758</c:v>
                </c:pt>
                <c:pt idx="142">
                  <c:v>95151</c:v>
                </c:pt>
                <c:pt idx="143">
                  <c:v>95516</c:v>
                </c:pt>
                <c:pt idx="144">
                  <c:v>95661</c:v>
                </c:pt>
                <c:pt idx="145">
                  <c:v>95759</c:v>
                </c:pt>
                <c:pt idx="146">
                  <c:v>95974</c:v>
                </c:pt>
                <c:pt idx="147">
                  <c:v>96213</c:v>
                </c:pt>
                <c:pt idx="148">
                  <c:v>96565</c:v>
                </c:pt>
                <c:pt idx="149">
                  <c:v>96894</c:v>
                </c:pt>
                <c:pt idx="150">
                  <c:v>97179</c:v>
                </c:pt>
                <c:pt idx="151">
                  <c:v>97322</c:v>
                </c:pt>
                <c:pt idx="152">
                  <c:v>97413</c:v>
                </c:pt>
                <c:pt idx="153">
                  <c:v>97690</c:v>
                </c:pt>
                <c:pt idx="154">
                  <c:v>97961</c:v>
                </c:pt>
                <c:pt idx="155">
                  <c:v>98305</c:v>
                </c:pt>
                <c:pt idx="156">
                  <c:v>98658</c:v>
                </c:pt>
                <c:pt idx="157">
                  <c:v>98983</c:v>
                </c:pt>
                <c:pt idx="158">
                  <c:v>99120</c:v>
                </c:pt>
                <c:pt idx="159">
                  <c:v>99250</c:v>
                </c:pt>
                <c:pt idx="160">
                  <c:v>99588</c:v>
                </c:pt>
                <c:pt idx="161">
                  <c:v>99928</c:v>
                </c:pt>
                <c:pt idx="162">
                  <c:v>100278</c:v>
                </c:pt>
                <c:pt idx="163">
                  <c:v>100640</c:v>
                </c:pt>
                <c:pt idx="164">
                  <c:v>100941</c:v>
                </c:pt>
                <c:pt idx="165">
                  <c:v>101149</c:v>
                </c:pt>
                <c:pt idx="166">
                  <c:v>101266</c:v>
                </c:pt>
                <c:pt idx="167">
                  <c:v>101510</c:v>
                </c:pt>
                <c:pt idx="168">
                  <c:v>101784</c:v>
                </c:pt>
                <c:pt idx="169">
                  <c:v>102025</c:v>
                </c:pt>
                <c:pt idx="170">
                  <c:v>102296</c:v>
                </c:pt>
                <c:pt idx="171">
                  <c:v>102513</c:v>
                </c:pt>
                <c:pt idx="172">
                  <c:v>102631</c:v>
                </c:pt>
                <c:pt idx="173">
                  <c:v>102725</c:v>
                </c:pt>
                <c:pt idx="174">
                  <c:v>102903</c:v>
                </c:pt>
                <c:pt idx="175">
                  <c:v>103124</c:v>
                </c:pt>
                <c:pt idx="176">
                  <c:v>103313</c:v>
                </c:pt>
                <c:pt idx="177">
                  <c:v>103474</c:v>
                </c:pt>
                <c:pt idx="178">
                  <c:v>103660</c:v>
                </c:pt>
                <c:pt idx="179">
                  <c:v>103751</c:v>
                </c:pt>
                <c:pt idx="180">
                  <c:v>103819</c:v>
                </c:pt>
                <c:pt idx="181">
                  <c:v>104000</c:v>
                </c:pt>
                <c:pt idx="182">
                  <c:v>104168</c:v>
                </c:pt>
                <c:pt idx="183">
                  <c:v>104349</c:v>
                </c:pt>
                <c:pt idx="184">
                  <c:v>104490</c:v>
                </c:pt>
                <c:pt idx="185">
                  <c:v>104683</c:v>
                </c:pt>
                <c:pt idx="186">
                  <c:v>104717</c:v>
                </c:pt>
                <c:pt idx="187">
                  <c:v>104762</c:v>
                </c:pt>
                <c:pt idx="188">
                  <c:v>104811</c:v>
                </c:pt>
                <c:pt idx="189">
                  <c:v>104843</c:v>
                </c:pt>
                <c:pt idx="190">
                  <c:v>105007</c:v>
                </c:pt>
                <c:pt idx="191">
                  <c:v>105185</c:v>
                </c:pt>
                <c:pt idx="192">
                  <c:v>105358</c:v>
                </c:pt>
                <c:pt idx="193">
                  <c:v>105418</c:v>
                </c:pt>
                <c:pt idx="194">
                  <c:v>105467</c:v>
                </c:pt>
                <c:pt idx="195">
                  <c:v>105629</c:v>
                </c:pt>
                <c:pt idx="196">
                  <c:v>105814</c:v>
                </c:pt>
                <c:pt idx="197">
                  <c:v>106017</c:v>
                </c:pt>
                <c:pt idx="198">
                  <c:v>106208</c:v>
                </c:pt>
                <c:pt idx="199">
                  <c:v>106391</c:v>
                </c:pt>
                <c:pt idx="200">
                  <c:v>106441</c:v>
                </c:pt>
                <c:pt idx="201">
                  <c:v>106499</c:v>
                </c:pt>
                <c:pt idx="202">
                  <c:v>106669</c:v>
                </c:pt>
                <c:pt idx="203">
                  <c:v>106818</c:v>
                </c:pt>
                <c:pt idx="204">
                  <c:v>106998</c:v>
                </c:pt>
                <c:pt idx="205">
                  <c:v>107176</c:v>
                </c:pt>
                <c:pt idx="206">
                  <c:v>107323</c:v>
                </c:pt>
                <c:pt idx="207">
                  <c:v>107367</c:v>
                </c:pt>
                <c:pt idx="208">
                  <c:v>107393</c:v>
                </c:pt>
                <c:pt idx="209">
                  <c:v>107561</c:v>
                </c:pt>
                <c:pt idx="210">
                  <c:v>107731</c:v>
                </c:pt>
                <c:pt idx="211">
                  <c:v>107882</c:v>
                </c:pt>
                <c:pt idx="212">
                  <c:v>108031</c:v>
                </c:pt>
                <c:pt idx="213">
                  <c:v>108196</c:v>
                </c:pt>
                <c:pt idx="214">
                  <c:v>108235</c:v>
                </c:pt>
                <c:pt idx="215">
                  <c:v>108275</c:v>
                </c:pt>
                <c:pt idx="216">
                  <c:v>108374</c:v>
                </c:pt>
                <c:pt idx="217">
                  <c:v>108486</c:v>
                </c:pt>
                <c:pt idx="218">
                  <c:v>108615</c:v>
                </c:pt>
                <c:pt idx="219">
                  <c:v>108724</c:v>
                </c:pt>
                <c:pt idx="220">
                  <c:v>108843</c:v>
                </c:pt>
                <c:pt idx="221">
                  <c:v>108865</c:v>
                </c:pt>
                <c:pt idx="222">
                  <c:v>108890</c:v>
                </c:pt>
                <c:pt idx="223">
                  <c:v>108975</c:v>
                </c:pt>
                <c:pt idx="224">
                  <c:v>109054</c:v>
                </c:pt>
                <c:pt idx="225">
                  <c:v>109124</c:v>
                </c:pt>
                <c:pt idx="226">
                  <c:v>109230</c:v>
                </c:pt>
                <c:pt idx="227">
                  <c:v>109293</c:v>
                </c:pt>
                <c:pt idx="228">
                  <c:v>109314</c:v>
                </c:pt>
                <c:pt idx="229">
                  <c:v>109336</c:v>
                </c:pt>
                <c:pt idx="230">
                  <c:v>109419</c:v>
                </c:pt>
                <c:pt idx="231">
                  <c:v>109498</c:v>
                </c:pt>
                <c:pt idx="232">
                  <c:v>109560</c:v>
                </c:pt>
                <c:pt idx="233">
                  <c:v>109630</c:v>
                </c:pt>
                <c:pt idx="234">
                  <c:v>109745</c:v>
                </c:pt>
                <c:pt idx="235">
                  <c:v>109759</c:v>
                </c:pt>
                <c:pt idx="236">
                  <c:v>109770</c:v>
                </c:pt>
                <c:pt idx="237">
                  <c:v>109866</c:v>
                </c:pt>
                <c:pt idx="238">
                  <c:v>109954</c:v>
                </c:pt>
                <c:pt idx="239">
                  <c:v>110021</c:v>
                </c:pt>
                <c:pt idx="240">
                  <c:v>110093</c:v>
                </c:pt>
                <c:pt idx="241">
                  <c:v>110181</c:v>
                </c:pt>
                <c:pt idx="242">
                  <c:v>110197</c:v>
                </c:pt>
                <c:pt idx="243">
                  <c:v>110213</c:v>
                </c:pt>
                <c:pt idx="244">
                  <c:v>110285</c:v>
                </c:pt>
                <c:pt idx="245">
                  <c:v>110346</c:v>
                </c:pt>
                <c:pt idx="246">
                  <c:v>110402</c:v>
                </c:pt>
                <c:pt idx="247">
                  <c:v>110476</c:v>
                </c:pt>
                <c:pt idx="248">
                  <c:v>110552</c:v>
                </c:pt>
                <c:pt idx="249">
                  <c:v>110564</c:v>
                </c:pt>
                <c:pt idx="250">
                  <c:v>110574</c:v>
                </c:pt>
                <c:pt idx="251">
                  <c:v>110633</c:v>
                </c:pt>
                <c:pt idx="252">
                  <c:v>110675</c:v>
                </c:pt>
                <c:pt idx="253">
                  <c:v>110726</c:v>
                </c:pt>
                <c:pt idx="254">
                  <c:v>110782</c:v>
                </c:pt>
                <c:pt idx="255">
                  <c:v>110833</c:v>
                </c:pt>
                <c:pt idx="256">
                  <c:v>110850</c:v>
                </c:pt>
                <c:pt idx="257">
                  <c:v>110857</c:v>
                </c:pt>
                <c:pt idx="258">
                  <c:v>110901</c:v>
                </c:pt>
                <c:pt idx="259">
                  <c:v>110964</c:v>
                </c:pt>
                <c:pt idx="260">
                  <c:v>111013</c:v>
                </c:pt>
                <c:pt idx="261">
                  <c:v>111070</c:v>
                </c:pt>
                <c:pt idx="262">
                  <c:v>111137</c:v>
                </c:pt>
                <c:pt idx="263">
                  <c:v>111154</c:v>
                </c:pt>
                <c:pt idx="264">
                  <c:v>111161</c:v>
                </c:pt>
                <c:pt idx="265">
                  <c:v>111199</c:v>
                </c:pt>
                <c:pt idx="266">
                  <c:v>111248</c:v>
                </c:pt>
                <c:pt idx="267">
                  <c:v>111291</c:v>
                </c:pt>
                <c:pt idx="268">
                  <c:v>111344</c:v>
                </c:pt>
                <c:pt idx="269">
                  <c:v>111416</c:v>
                </c:pt>
                <c:pt idx="270">
                  <c:v>111426</c:v>
                </c:pt>
                <c:pt idx="271">
                  <c:v>111430</c:v>
                </c:pt>
                <c:pt idx="272">
                  <c:v>111473</c:v>
                </c:pt>
                <c:pt idx="273">
                  <c:v>111475</c:v>
                </c:pt>
                <c:pt idx="274">
                  <c:v>111516</c:v>
                </c:pt>
                <c:pt idx="275">
                  <c:v>111555</c:v>
                </c:pt>
                <c:pt idx="276">
                  <c:v>111589</c:v>
                </c:pt>
                <c:pt idx="277">
                  <c:v>111596</c:v>
                </c:pt>
                <c:pt idx="278">
                  <c:v>111603</c:v>
                </c:pt>
                <c:pt idx="279">
                  <c:v>111631</c:v>
                </c:pt>
                <c:pt idx="280">
                  <c:v>111678</c:v>
                </c:pt>
                <c:pt idx="281">
                  <c:v>111727</c:v>
                </c:pt>
                <c:pt idx="282">
                  <c:v>111755</c:v>
                </c:pt>
                <c:pt idx="283">
                  <c:v>111805</c:v>
                </c:pt>
                <c:pt idx="284">
                  <c:v>111815</c:v>
                </c:pt>
                <c:pt idx="285">
                  <c:v>111820</c:v>
                </c:pt>
                <c:pt idx="286">
                  <c:v>111850</c:v>
                </c:pt>
                <c:pt idx="287">
                  <c:v>111871</c:v>
                </c:pt>
                <c:pt idx="288">
                  <c:v>111908</c:v>
                </c:pt>
                <c:pt idx="289">
                  <c:v>111938</c:v>
                </c:pt>
                <c:pt idx="290">
                  <c:v>111983</c:v>
                </c:pt>
                <c:pt idx="291">
                  <c:v>111995</c:v>
                </c:pt>
                <c:pt idx="292">
                  <c:v>112012</c:v>
                </c:pt>
                <c:pt idx="293">
                  <c:v>112064</c:v>
                </c:pt>
                <c:pt idx="294">
                  <c:v>112120</c:v>
                </c:pt>
                <c:pt idx="295">
                  <c:v>112179</c:v>
                </c:pt>
                <c:pt idx="296">
                  <c:v>112293</c:v>
                </c:pt>
                <c:pt idx="297">
                  <c:v>112417</c:v>
                </c:pt>
                <c:pt idx="298">
                  <c:v>112443</c:v>
                </c:pt>
                <c:pt idx="299">
                  <c:v>112467</c:v>
                </c:pt>
                <c:pt idx="300">
                  <c:v>112591</c:v>
                </c:pt>
                <c:pt idx="301">
                  <c:v>112759</c:v>
                </c:pt>
                <c:pt idx="302">
                  <c:v>112961</c:v>
                </c:pt>
                <c:pt idx="303">
                  <c:v>112998</c:v>
                </c:pt>
                <c:pt idx="304">
                  <c:v>113162</c:v>
                </c:pt>
                <c:pt idx="305">
                  <c:v>113208</c:v>
                </c:pt>
                <c:pt idx="306">
                  <c:v>113240</c:v>
                </c:pt>
                <c:pt idx="307">
                  <c:v>113409</c:v>
                </c:pt>
                <c:pt idx="308">
                  <c:v>113610</c:v>
                </c:pt>
                <c:pt idx="309">
                  <c:v>113800</c:v>
                </c:pt>
                <c:pt idx="310">
                  <c:v>114033</c:v>
                </c:pt>
                <c:pt idx="311">
                  <c:v>114280</c:v>
                </c:pt>
                <c:pt idx="312">
                  <c:v>114338</c:v>
                </c:pt>
                <c:pt idx="313">
                  <c:v>114376</c:v>
                </c:pt>
                <c:pt idx="314">
                  <c:v>114562</c:v>
                </c:pt>
                <c:pt idx="315">
                  <c:v>114717</c:v>
                </c:pt>
                <c:pt idx="316">
                  <c:v>114905</c:v>
                </c:pt>
                <c:pt idx="317">
                  <c:v>115082</c:v>
                </c:pt>
                <c:pt idx="318">
                  <c:v>115287</c:v>
                </c:pt>
                <c:pt idx="319">
                  <c:v>115346</c:v>
                </c:pt>
                <c:pt idx="320">
                  <c:v>115385</c:v>
                </c:pt>
                <c:pt idx="321">
                  <c:v>115575</c:v>
                </c:pt>
                <c:pt idx="322">
                  <c:v>115778</c:v>
                </c:pt>
                <c:pt idx="323">
                  <c:v>115828</c:v>
                </c:pt>
                <c:pt idx="324">
                  <c:v>116052</c:v>
                </c:pt>
                <c:pt idx="325">
                  <c:v>116329</c:v>
                </c:pt>
                <c:pt idx="326">
                  <c:v>116420</c:v>
                </c:pt>
                <c:pt idx="327">
                  <c:v>116487</c:v>
                </c:pt>
                <c:pt idx="328">
                  <c:v>116673</c:v>
                </c:pt>
                <c:pt idx="329">
                  <c:v>116852</c:v>
                </c:pt>
                <c:pt idx="330">
                  <c:v>117078</c:v>
                </c:pt>
                <c:pt idx="331">
                  <c:v>117293</c:v>
                </c:pt>
                <c:pt idx="332">
                  <c:v>117530</c:v>
                </c:pt>
                <c:pt idx="333">
                  <c:v>117592</c:v>
                </c:pt>
                <c:pt idx="334">
                  <c:v>117615</c:v>
                </c:pt>
                <c:pt idx="335">
                  <c:v>117765</c:v>
                </c:pt>
                <c:pt idx="336">
                  <c:v>117925</c:v>
                </c:pt>
                <c:pt idx="337">
                  <c:v>118080</c:v>
                </c:pt>
                <c:pt idx="338">
                  <c:v>118195</c:v>
                </c:pt>
                <c:pt idx="339">
                  <c:v>118309</c:v>
                </c:pt>
                <c:pt idx="340">
                  <c:v>118336</c:v>
                </c:pt>
                <c:pt idx="341">
                  <c:v>118347</c:v>
                </c:pt>
                <c:pt idx="342">
                  <c:v>118447</c:v>
                </c:pt>
                <c:pt idx="343">
                  <c:v>118531</c:v>
                </c:pt>
                <c:pt idx="344">
                  <c:v>118631</c:v>
                </c:pt>
                <c:pt idx="345">
                  <c:v>118706</c:v>
                </c:pt>
                <c:pt idx="346">
                  <c:v>118788</c:v>
                </c:pt>
                <c:pt idx="347">
                  <c:v>118802</c:v>
                </c:pt>
                <c:pt idx="348">
                  <c:v>118813</c:v>
                </c:pt>
                <c:pt idx="349">
                  <c:v>118899</c:v>
                </c:pt>
                <c:pt idx="350">
                  <c:v>118961</c:v>
                </c:pt>
                <c:pt idx="351">
                  <c:v>119041</c:v>
                </c:pt>
                <c:pt idx="352">
                  <c:v>119122</c:v>
                </c:pt>
                <c:pt idx="353">
                  <c:v>119206</c:v>
                </c:pt>
                <c:pt idx="354">
                  <c:v>119231</c:v>
                </c:pt>
                <c:pt idx="355">
                  <c:v>119235</c:v>
                </c:pt>
                <c:pt idx="356">
                  <c:v>119292</c:v>
                </c:pt>
                <c:pt idx="357">
                  <c:v>119332</c:v>
                </c:pt>
                <c:pt idx="358">
                  <c:v>119371</c:v>
                </c:pt>
                <c:pt idx="359">
                  <c:v>119391</c:v>
                </c:pt>
                <c:pt idx="360">
                  <c:v>119391</c:v>
                </c:pt>
                <c:pt idx="361">
                  <c:v>119418</c:v>
                </c:pt>
                <c:pt idx="362">
                  <c:v>119453</c:v>
                </c:pt>
                <c:pt idx="363">
                  <c:v>119492</c:v>
                </c:pt>
                <c:pt idx="364">
                  <c:v>119525</c:v>
                </c:pt>
                <c:pt idx="365">
                  <c:v>119528</c:v>
                </c:pt>
                <c:pt idx="366">
                  <c:v>119531</c:v>
                </c:pt>
                <c:pt idx="367">
                  <c:v>119577</c:v>
                </c:pt>
                <c:pt idx="368">
                  <c:v>119609</c:v>
                </c:pt>
                <c:pt idx="369">
                  <c:v>119668</c:v>
                </c:pt>
                <c:pt idx="370">
                  <c:v>119723</c:v>
                </c:pt>
                <c:pt idx="371">
                  <c:v>119809</c:v>
                </c:pt>
                <c:pt idx="372">
                  <c:v>119817</c:v>
                </c:pt>
                <c:pt idx="373">
                  <c:v>119822</c:v>
                </c:pt>
                <c:pt idx="374">
                  <c:v>119862</c:v>
                </c:pt>
                <c:pt idx="375">
                  <c:v>119913</c:v>
                </c:pt>
                <c:pt idx="376">
                  <c:v>119960</c:v>
                </c:pt>
                <c:pt idx="377">
                  <c:v>120019</c:v>
                </c:pt>
                <c:pt idx="378">
                  <c:v>120102</c:v>
                </c:pt>
                <c:pt idx="379">
                  <c:v>120117</c:v>
                </c:pt>
                <c:pt idx="380">
                  <c:v>120123</c:v>
                </c:pt>
                <c:pt idx="381">
                  <c:v>120168</c:v>
                </c:pt>
                <c:pt idx="382">
                  <c:v>120221</c:v>
                </c:pt>
                <c:pt idx="383">
                  <c:v>120260</c:v>
                </c:pt>
                <c:pt idx="384">
                  <c:v>120289</c:v>
                </c:pt>
                <c:pt idx="385">
                  <c:v>120326</c:v>
                </c:pt>
                <c:pt idx="386">
                  <c:v>120329</c:v>
                </c:pt>
                <c:pt idx="387">
                  <c:v>120332</c:v>
                </c:pt>
                <c:pt idx="388">
                  <c:v>120347</c:v>
                </c:pt>
                <c:pt idx="389">
                  <c:v>120365</c:v>
                </c:pt>
                <c:pt idx="390">
                  <c:v>120381</c:v>
                </c:pt>
                <c:pt idx="391">
                  <c:v>120399</c:v>
                </c:pt>
                <c:pt idx="392">
                  <c:v>120428</c:v>
                </c:pt>
                <c:pt idx="393">
                  <c:v>120435</c:v>
                </c:pt>
                <c:pt idx="394">
                  <c:v>120436</c:v>
                </c:pt>
                <c:pt idx="395">
                  <c:v>120448</c:v>
                </c:pt>
                <c:pt idx="396">
                  <c:v>120456</c:v>
                </c:pt>
                <c:pt idx="397">
                  <c:v>120467</c:v>
                </c:pt>
                <c:pt idx="398">
                  <c:v>120477</c:v>
                </c:pt>
                <c:pt idx="399">
                  <c:v>1204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K$1:$OT$1</c:f>
              <c:strCache>
                <c:ptCount val="400"/>
                <c:pt idx="0">
                  <c:v>29.XII.20</c:v>
                </c:pt>
                <c:pt idx="1">
                  <c:v>30.XII.20</c:v>
                </c:pt>
                <c:pt idx="2">
                  <c:v>31.XII.20</c:v>
                </c:pt>
                <c:pt idx="3">
                  <c:v>1.I.21</c:v>
                </c:pt>
                <c:pt idx="4">
                  <c:v>2.I.21</c:v>
                </c:pt>
                <c:pt idx="5">
                  <c:v>3.I.21</c:v>
                </c:pt>
                <c:pt idx="6">
                  <c:v>4.I.21</c:v>
                </c:pt>
                <c:pt idx="7">
                  <c:v>5.I.21</c:v>
                </c:pt>
                <c:pt idx="8">
                  <c:v>6.I.21</c:v>
                </c:pt>
                <c:pt idx="9">
                  <c:v>7.I.21</c:v>
                </c:pt>
                <c:pt idx="10">
                  <c:v>8.I.21</c:v>
                </c:pt>
                <c:pt idx="11">
                  <c:v>9.I.21</c:v>
                </c:pt>
                <c:pt idx="12">
                  <c:v>10.I.21</c:v>
                </c:pt>
                <c:pt idx="13">
                  <c:v>11.I.21</c:v>
                </c:pt>
                <c:pt idx="14">
                  <c:v>12.I.21</c:v>
                </c:pt>
                <c:pt idx="15">
                  <c:v>13.I.21</c:v>
                </c:pt>
                <c:pt idx="16">
                  <c:v>14.I.21</c:v>
                </c:pt>
                <c:pt idx="17">
                  <c:v>15.I.21</c:v>
                </c:pt>
                <c:pt idx="18">
                  <c:v>16.I.21</c:v>
                </c:pt>
                <c:pt idx="19">
                  <c:v>17.I.21</c:v>
                </c:pt>
                <c:pt idx="20">
                  <c:v>18.I.21</c:v>
                </c:pt>
                <c:pt idx="21">
                  <c:v>19.I.21</c:v>
                </c:pt>
                <c:pt idx="22">
                  <c:v>20.I.21</c:v>
                </c:pt>
                <c:pt idx="23">
                  <c:v>21.I.21</c:v>
                </c:pt>
                <c:pt idx="24">
                  <c:v>22.I.21</c:v>
                </c:pt>
                <c:pt idx="25">
                  <c:v>23.I.21</c:v>
                </c:pt>
                <c:pt idx="26">
                  <c:v>24.I.21</c:v>
                </c:pt>
                <c:pt idx="27">
                  <c:v>25.I.21</c:v>
                </c:pt>
                <c:pt idx="28">
                  <c:v>26.I.21</c:v>
                </c:pt>
                <c:pt idx="29">
                  <c:v>27.I.21</c:v>
                </c:pt>
                <c:pt idx="30">
                  <c:v>28.I.21</c:v>
                </c:pt>
                <c:pt idx="31">
                  <c:v>29.I.21</c:v>
                </c:pt>
                <c:pt idx="32">
                  <c:v>30.I.21</c:v>
                </c:pt>
                <c:pt idx="33">
                  <c:v>31.I.21</c:v>
                </c:pt>
                <c:pt idx="34">
                  <c:v>1.II.21</c:v>
                </c:pt>
                <c:pt idx="35">
                  <c:v>2.II.21</c:v>
                </c:pt>
                <c:pt idx="36">
                  <c:v>3.II.21</c:v>
                </c:pt>
                <c:pt idx="37">
                  <c:v>4.II.21</c:v>
                </c:pt>
                <c:pt idx="38">
                  <c:v>5.II.21</c:v>
                </c:pt>
                <c:pt idx="39">
                  <c:v>6.II.21</c:v>
                </c:pt>
                <c:pt idx="40">
                  <c:v>7.II.21</c:v>
                </c:pt>
                <c:pt idx="41">
                  <c:v>8.II.21</c:v>
                </c:pt>
                <c:pt idx="42">
                  <c:v>9.II.21</c:v>
                </c:pt>
                <c:pt idx="43">
                  <c:v>10.II.21</c:v>
                </c:pt>
                <c:pt idx="44">
                  <c:v>11.II.21</c:v>
                </c:pt>
                <c:pt idx="45">
                  <c:v>12.II.21</c:v>
                </c:pt>
                <c:pt idx="46">
                  <c:v>13.II.21</c:v>
                </c:pt>
                <c:pt idx="47">
                  <c:v>14.II.21</c:v>
                </c:pt>
                <c:pt idx="48">
                  <c:v>15.II.21</c:v>
                </c:pt>
                <c:pt idx="49">
                  <c:v>16.II.21</c:v>
                </c:pt>
                <c:pt idx="50">
                  <c:v>17.II.21</c:v>
                </c:pt>
                <c:pt idx="51">
                  <c:v>18.II.21</c:v>
                </c:pt>
                <c:pt idx="52">
                  <c:v>19.II.21</c:v>
                </c:pt>
                <c:pt idx="53">
                  <c:v>20.II.21</c:v>
                </c:pt>
                <c:pt idx="54">
                  <c:v>21.II.21</c:v>
                </c:pt>
                <c:pt idx="55">
                  <c:v>22.II.21</c:v>
                </c:pt>
                <c:pt idx="56">
                  <c:v>23.II.21</c:v>
                </c:pt>
                <c:pt idx="57">
                  <c:v>24.II.21</c:v>
                </c:pt>
                <c:pt idx="58">
                  <c:v>25.II.21</c:v>
                </c:pt>
                <c:pt idx="59">
                  <c:v>26.II.21</c:v>
                </c:pt>
                <c:pt idx="60">
                  <c:v>27.II.21</c:v>
                </c:pt>
                <c:pt idx="61">
                  <c:v>28.II.21</c:v>
                </c:pt>
                <c:pt idx="62">
                  <c:v>1.III.21</c:v>
                </c:pt>
                <c:pt idx="63">
                  <c:v>2.III.21</c:v>
                </c:pt>
                <c:pt idx="64">
                  <c:v>3.III.21</c:v>
                </c:pt>
                <c:pt idx="65">
                  <c:v>4.III.21</c:v>
                </c:pt>
                <c:pt idx="66">
                  <c:v>5.III.21</c:v>
                </c:pt>
                <c:pt idx="67">
                  <c:v>6.III.21</c:v>
                </c:pt>
                <c:pt idx="68">
                  <c:v>7.III.21</c:v>
                </c:pt>
                <c:pt idx="69">
                  <c:v>8.III.21</c:v>
                </c:pt>
                <c:pt idx="70">
                  <c:v>9.III.21</c:v>
                </c:pt>
                <c:pt idx="71">
                  <c:v>10.III.21</c:v>
                </c:pt>
                <c:pt idx="72">
                  <c:v>11.III.21</c:v>
                </c:pt>
                <c:pt idx="73">
                  <c:v>12.III.21</c:v>
                </c:pt>
                <c:pt idx="74">
                  <c:v>13.III.21</c:v>
                </c:pt>
                <c:pt idx="75">
                  <c:v>14.III.21</c:v>
                </c:pt>
                <c:pt idx="76">
                  <c:v>15.III.21</c:v>
                </c:pt>
                <c:pt idx="77">
                  <c:v>16.III.21</c:v>
                </c:pt>
                <c:pt idx="78">
                  <c:v>17.III.21</c:v>
                </c:pt>
                <c:pt idx="79">
                  <c:v>18.III.21</c:v>
                </c:pt>
                <c:pt idx="80">
                  <c:v>19.III.21</c:v>
                </c:pt>
                <c:pt idx="81">
                  <c:v>20.III.21</c:v>
                </c:pt>
                <c:pt idx="82">
                  <c:v>21.III.21</c:v>
                </c:pt>
                <c:pt idx="83">
                  <c:v>22.III.21</c:v>
                </c:pt>
                <c:pt idx="84">
                  <c:v>23.III.21</c:v>
                </c:pt>
                <c:pt idx="85">
                  <c:v>24.III.21</c:v>
                </c:pt>
                <c:pt idx="86">
                  <c:v>25.III.21</c:v>
                </c:pt>
                <c:pt idx="87">
                  <c:v>26.III.21</c:v>
                </c:pt>
                <c:pt idx="88">
                  <c:v>27.III.21</c:v>
                </c:pt>
                <c:pt idx="89">
                  <c:v>28.III.21</c:v>
                </c:pt>
                <c:pt idx="90">
                  <c:v>29.III.21</c:v>
                </c:pt>
                <c:pt idx="91">
                  <c:v>30.III.21</c:v>
                </c:pt>
                <c:pt idx="92">
                  <c:v>31.III.21</c:v>
                </c:pt>
                <c:pt idx="93">
                  <c:v>1.IV.21</c:v>
                </c:pt>
                <c:pt idx="94">
                  <c:v>2.IV.21</c:v>
                </c:pt>
                <c:pt idx="95">
                  <c:v>3.IV.21</c:v>
                </c:pt>
                <c:pt idx="96">
                  <c:v>4.IV.21</c:v>
                </c:pt>
                <c:pt idx="97">
                  <c:v>5.IV.21</c:v>
                </c:pt>
                <c:pt idx="98">
                  <c:v>6.IV.21</c:v>
                </c:pt>
                <c:pt idx="99">
                  <c:v>7.IV.21</c:v>
                </c:pt>
                <c:pt idx="100">
                  <c:v>8.IV.21</c:v>
                </c:pt>
                <c:pt idx="101">
                  <c:v>9.IV.21</c:v>
                </c:pt>
                <c:pt idx="102">
                  <c:v>10.IV.21</c:v>
                </c:pt>
                <c:pt idx="103">
                  <c:v>11.IV.21</c:v>
                </c:pt>
                <c:pt idx="104">
                  <c:v>12.IV.21</c:v>
                </c:pt>
                <c:pt idx="105">
                  <c:v>13.IV.21</c:v>
                </c:pt>
                <c:pt idx="106">
                  <c:v>14.IV.21</c:v>
                </c:pt>
                <c:pt idx="107">
                  <c:v>15.IV.21</c:v>
                </c:pt>
                <c:pt idx="108">
                  <c:v>16.IV.21</c:v>
                </c:pt>
                <c:pt idx="109">
                  <c:v>17.IV.21</c:v>
                </c:pt>
                <c:pt idx="110">
                  <c:v>18.IV.21</c:v>
                </c:pt>
                <c:pt idx="111">
                  <c:v>19.IV.21</c:v>
                </c:pt>
                <c:pt idx="112">
                  <c:v>20.IV.21</c:v>
                </c:pt>
                <c:pt idx="113">
                  <c:v>21.IV.21</c:v>
                </c:pt>
                <c:pt idx="114">
                  <c:v>22.IV.21</c:v>
                </c:pt>
                <c:pt idx="115">
                  <c:v>23.IV.21</c:v>
                </c:pt>
                <c:pt idx="116">
                  <c:v>24.IV.21</c:v>
                </c:pt>
                <c:pt idx="117">
                  <c:v>25.IV.21</c:v>
                </c:pt>
                <c:pt idx="118">
                  <c:v>26.IV.21</c:v>
                </c:pt>
                <c:pt idx="119">
                  <c:v>27.IV.21</c:v>
                </c:pt>
                <c:pt idx="120">
                  <c:v>28.IV.21</c:v>
                </c:pt>
                <c:pt idx="121">
                  <c:v>29.IV.21</c:v>
                </c:pt>
                <c:pt idx="122">
                  <c:v>30.IV.21</c:v>
                </c:pt>
                <c:pt idx="123">
                  <c:v>1.V.21</c:v>
                </c:pt>
                <c:pt idx="124">
                  <c:v>2.V.21</c:v>
                </c:pt>
                <c:pt idx="125">
                  <c:v>3.V.21</c:v>
                </c:pt>
                <c:pt idx="126">
                  <c:v>4.V.21</c:v>
                </c:pt>
                <c:pt idx="127">
                  <c:v>5.V.21</c:v>
                </c:pt>
                <c:pt idx="128">
                  <c:v>6.V.21</c:v>
                </c:pt>
                <c:pt idx="129">
                  <c:v>7.V.21</c:v>
                </c:pt>
                <c:pt idx="130">
                  <c:v>8.V.21</c:v>
                </c:pt>
                <c:pt idx="131">
                  <c:v>9.V.21</c:v>
                </c:pt>
                <c:pt idx="132">
                  <c:v>10.V.21</c:v>
                </c:pt>
                <c:pt idx="133">
                  <c:v>11.V.21</c:v>
                </c:pt>
                <c:pt idx="134">
                  <c:v>12.V.21</c:v>
                </c:pt>
                <c:pt idx="135">
                  <c:v>13.V.21</c:v>
                </c:pt>
                <c:pt idx="136">
                  <c:v>14.V.21</c:v>
                </c:pt>
                <c:pt idx="137">
                  <c:v>15.V.21</c:v>
                </c:pt>
                <c:pt idx="138">
                  <c:v>16.V.21</c:v>
                </c:pt>
                <c:pt idx="139">
                  <c:v>17.V.21</c:v>
                </c:pt>
                <c:pt idx="140">
                  <c:v>18.V.21</c:v>
                </c:pt>
                <c:pt idx="141">
                  <c:v>19.V.21</c:v>
                </c:pt>
                <c:pt idx="142">
                  <c:v>20.V.21</c:v>
                </c:pt>
                <c:pt idx="143">
                  <c:v>21.V.21</c:v>
                </c:pt>
                <c:pt idx="144">
                  <c:v>22.V.21</c:v>
                </c:pt>
                <c:pt idx="145">
                  <c:v>23.V.21</c:v>
                </c:pt>
                <c:pt idx="146">
                  <c:v>24.V.21</c:v>
                </c:pt>
                <c:pt idx="147">
                  <c:v>25.V.21</c:v>
                </c:pt>
                <c:pt idx="148">
                  <c:v>26.V.21</c:v>
                </c:pt>
                <c:pt idx="149">
                  <c:v>27.V.21</c:v>
                </c:pt>
                <c:pt idx="150">
                  <c:v>28.V.21</c:v>
                </c:pt>
                <c:pt idx="151">
                  <c:v>29.V.21</c:v>
                </c:pt>
                <c:pt idx="152">
                  <c:v>30.V.21</c:v>
                </c:pt>
                <c:pt idx="153">
                  <c:v>31.V.21</c:v>
                </c:pt>
                <c:pt idx="154">
                  <c:v>1.VI.21</c:v>
                </c:pt>
                <c:pt idx="155">
                  <c:v>2.VI.21</c:v>
                </c:pt>
                <c:pt idx="156">
                  <c:v>3.VI.21</c:v>
                </c:pt>
                <c:pt idx="157">
                  <c:v>4.VI.21</c:v>
                </c:pt>
                <c:pt idx="158">
                  <c:v>5.VI.21</c:v>
                </c:pt>
                <c:pt idx="159">
                  <c:v>6.VI.21</c:v>
                </c:pt>
                <c:pt idx="160">
                  <c:v>7.VI.21</c:v>
                </c:pt>
                <c:pt idx="161">
                  <c:v>8.VI.21</c:v>
                </c:pt>
                <c:pt idx="162">
                  <c:v>9.VI.21</c:v>
                </c:pt>
                <c:pt idx="163">
                  <c:v>10.VI.21</c:v>
                </c:pt>
                <c:pt idx="164">
                  <c:v>11.VI.21</c:v>
                </c:pt>
                <c:pt idx="165">
                  <c:v>12.VI.21</c:v>
                </c:pt>
                <c:pt idx="166">
                  <c:v>13.VI.21</c:v>
                </c:pt>
                <c:pt idx="167">
                  <c:v>14.VI.21</c:v>
                </c:pt>
                <c:pt idx="168">
                  <c:v>15.VI.21</c:v>
                </c:pt>
                <c:pt idx="169">
                  <c:v>16.VI.21</c:v>
                </c:pt>
                <c:pt idx="170">
                  <c:v>17.VI.21</c:v>
                </c:pt>
                <c:pt idx="171">
                  <c:v>18.VI.21</c:v>
                </c:pt>
                <c:pt idx="172">
                  <c:v>19.VI.21</c:v>
                </c:pt>
                <c:pt idx="173">
                  <c:v>20.VI.21</c:v>
                </c:pt>
                <c:pt idx="174">
                  <c:v>21.VI.21</c:v>
                </c:pt>
                <c:pt idx="175">
                  <c:v>22.VI.21</c:v>
                </c:pt>
                <c:pt idx="176">
                  <c:v>23.VI.21</c:v>
                </c:pt>
                <c:pt idx="177">
                  <c:v>24.VI.21</c:v>
                </c:pt>
                <c:pt idx="178">
                  <c:v>25.VI.21</c:v>
                </c:pt>
                <c:pt idx="179">
                  <c:v>26.VI.21</c:v>
                </c:pt>
                <c:pt idx="180">
                  <c:v>27.VI.21</c:v>
                </c:pt>
                <c:pt idx="181">
                  <c:v>28.VI.21</c:v>
                </c:pt>
                <c:pt idx="182">
                  <c:v>29.VI.21</c:v>
                </c:pt>
                <c:pt idx="183">
                  <c:v>30.VI.21</c:v>
                </c:pt>
                <c:pt idx="184">
                  <c:v>1.VII.21</c:v>
                </c:pt>
                <c:pt idx="185">
                  <c:v>2.VII.21</c:v>
                </c:pt>
                <c:pt idx="186">
                  <c:v>3.VII.21</c:v>
                </c:pt>
                <c:pt idx="187">
                  <c:v>4.VII.21</c:v>
                </c:pt>
                <c:pt idx="188">
                  <c:v>5.VII.21</c:v>
                </c:pt>
                <c:pt idx="189">
                  <c:v>6.VII.21</c:v>
                </c:pt>
                <c:pt idx="190">
                  <c:v>7.VII.21</c:v>
                </c:pt>
                <c:pt idx="191">
                  <c:v>8.VII.21</c:v>
                </c:pt>
                <c:pt idx="192">
                  <c:v>9.VII.21</c:v>
                </c:pt>
                <c:pt idx="193">
                  <c:v>10.VII.21</c:v>
                </c:pt>
                <c:pt idx="194">
                  <c:v>11.VII.21</c:v>
                </c:pt>
                <c:pt idx="195">
                  <c:v>12.VII.21</c:v>
                </c:pt>
                <c:pt idx="196">
                  <c:v>13.VII.21</c:v>
                </c:pt>
                <c:pt idx="197">
                  <c:v>14.VII.21</c:v>
                </c:pt>
                <c:pt idx="198">
                  <c:v>15.VII.21</c:v>
                </c:pt>
                <c:pt idx="199">
                  <c:v>16.VII.21</c:v>
                </c:pt>
                <c:pt idx="200">
                  <c:v>17.VII.21</c:v>
                </c:pt>
                <c:pt idx="201">
                  <c:v>18.VII.21</c:v>
                </c:pt>
                <c:pt idx="202">
                  <c:v>19.VII.21</c:v>
                </c:pt>
                <c:pt idx="203">
                  <c:v>20.VII.21</c:v>
                </c:pt>
                <c:pt idx="204">
                  <c:v>21.VII.21</c:v>
                </c:pt>
                <c:pt idx="205">
                  <c:v>22.VII.21</c:v>
                </c:pt>
                <c:pt idx="206">
                  <c:v>23.VII.21</c:v>
                </c:pt>
                <c:pt idx="207">
                  <c:v>24.VII.21</c:v>
                </c:pt>
                <c:pt idx="208">
                  <c:v>25.VII.21</c:v>
                </c:pt>
                <c:pt idx="209">
                  <c:v>26.VII.21</c:v>
                </c:pt>
                <c:pt idx="210">
                  <c:v>27.VII.21</c:v>
                </c:pt>
                <c:pt idx="211">
                  <c:v>28.VII.21</c:v>
                </c:pt>
                <c:pt idx="212">
                  <c:v>29.VII.21</c:v>
                </c:pt>
                <c:pt idx="213">
                  <c:v>30.VII.21</c:v>
                </c:pt>
                <c:pt idx="214">
                  <c:v>31.VII.21</c:v>
                </c:pt>
                <c:pt idx="215">
                  <c:v>1.VIII.21</c:v>
                </c:pt>
                <c:pt idx="216">
                  <c:v>2.VIII.21</c:v>
                </c:pt>
                <c:pt idx="217">
                  <c:v>3.VIII.21</c:v>
                </c:pt>
                <c:pt idx="218">
                  <c:v>4.VIII.21</c:v>
                </c:pt>
                <c:pt idx="219">
                  <c:v>5.VIII.21</c:v>
                </c:pt>
                <c:pt idx="220">
                  <c:v>6.VIII.21</c:v>
                </c:pt>
                <c:pt idx="221">
                  <c:v>7.VIII.21</c:v>
                </c:pt>
                <c:pt idx="222">
                  <c:v>8.VIII.21</c:v>
                </c:pt>
                <c:pt idx="223">
                  <c:v>9.VIII.21</c:v>
                </c:pt>
                <c:pt idx="224">
                  <c:v>10.VIII.21</c:v>
                </c:pt>
                <c:pt idx="225">
                  <c:v>11.VIII.21</c:v>
                </c:pt>
                <c:pt idx="226">
                  <c:v>12.VIII.21</c:v>
                </c:pt>
                <c:pt idx="227">
                  <c:v>13.VIII.21</c:v>
                </c:pt>
                <c:pt idx="228">
                  <c:v>14.VIII.21</c:v>
                </c:pt>
                <c:pt idx="229">
                  <c:v>15.VIII.21</c:v>
                </c:pt>
                <c:pt idx="230">
                  <c:v>16.VIII.21</c:v>
                </c:pt>
                <c:pt idx="231">
                  <c:v>17.VIII.21</c:v>
                </c:pt>
                <c:pt idx="232">
                  <c:v>18.VIII.21</c:v>
                </c:pt>
                <c:pt idx="233">
                  <c:v>19.VIII.21</c:v>
                </c:pt>
                <c:pt idx="234">
                  <c:v>20.VIII.21</c:v>
                </c:pt>
                <c:pt idx="235">
                  <c:v>21.VIII.21</c:v>
                </c:pt>
                <c:pt idx="236">
                  <c:v>22.VIII.21</c:v>
                </c:pt>
                <c:pt idx="237">
                  <c:v>23.VIII.21</c:v>
                </c:pt>
                <c:pt idx="238">
                  <c:v>24.VIII.21</c:v>
                </c:pt>
                <c:pt idx="239">
                  <c:v>25.VIII.21</c:v>
                </c:pt>
                <c:pt idx="240">
                  <c:v>26.VIII.21</c:v>
                </c:pt>
                <c:pt idx="241">
                  <c:v>27.VIII.21</c:v>
                </c:pt>
                <c:pt idx="242">
                  <c:v>28.VIII.21</c:v>
                </c:pt>
                <c:pt idx="243">
                  <c:v>29.VIII.21</c:v>
                </c:pt>
                <c:pt idx="244">
                  <c:v>30.VIII.21</c:v>
                </c:pt>
                <c:pt idx="245">
                  <c:v>31.VIII.21</c:v>
                </c:pt>
                <c:pt idx="246">
                  <c:v>1.IX.21</c:v>
                </c:pt>
                <c:pt idx="247">
                  <c:v>2.IX.21</c:v>
                </c:pt>
                <c:pt idx="248">
                  <c:v>3.IX.21</c:v>
                </c:pt>
                <c:pt idx="249">
                  <c:v>4.IX.21</c:v>
                </c:pt>
                <c:pt idx="250">
                  <c:v>5.IX.21</c:v>
                </c:pt>
                <c:pt idx="251">
                  <c:v>6.IX.21</c:v>
                </c:pt>
                <c:pt idx="252">
                  <c:v>7.IX.21</c:v>
                </c:pt>
                <c:pt idx="253">
                  <c:v>8.IX.21</c:v>
                </c:pt>
                <c:pt idx="254">
                  <c:v>9.IX.21</c:v>
                </c:pt>
                <c:pt idx="255">
                  <c:v>10.IX.21</c:v>
                </c:pt>
                <c:pt idx="256">
                  <c:v>11.IX.21</c:v>
                </c:pt>
                <c:pt idx="257">
                  <c:v>12.IX.21</c:v>
                </c:pt>
                <c:pt idx="258">
                  <c:v>13.IX.21</c:v>
                </c:pt>
                <c:pt idx="259">
                  <c:v>14.IX.21</c:v>
                </c:pt>
                <c:pt idx="260">
                  <c:v>15.IX.21</c:v>
                </c:pt>
                <c:pt idx="261">
                  <c:v>16.IX.21</c:v>
                </c:pt>
                <c:pt idx="262">
                  <c:v>17.IX.21</c:v>
                </c:pt>
                <c:pt idx="263">
                  <c:v>18.IX.21</c:v>
                </c:pt>
                <c:pt idx="264">
                  <c:v>19.IX.21</c:v>
                </c:pt>
                <c:pt idx="265">
                  <c:v>20.IX.21</c:v>
                </c:pt>
                <c:pt idx="266">
                  <c:v>21.IX.21</c:v>
                </c:pt>
                <c:pt idx="267">
                  <c:v>22.IX.21</c:v>
                </c:pt>
                <c:pt idx="268">
                  <c:v>23.IX.21</c:v>
                </c:pt>
                <c:pt idx="269">
                  <c:v>24.IX.21</c:v>
                </c:pt>
                <c:pt idx="270">
                  <c:v>25.IX.21</c:v>
                </c:pt>
                <c:pt idx="271">
                  <c:v>26.IX.21</c:v>
                </c:pt>
                <c:pt idx="272">
                  <c:v>27.IX.21</c:v>
                </c:pt>
                <c:pt idx="273">
                  <c:v>28.IX.21</c:v>
                </c:pt>
                <c:pt idx="274">
                  <c:v>29.IX.21</c:v>
                </c:pt>
                <c:pt idx="275">
                  <c:v>30.IX.21</c:v>
                </c:pt>
                <c:pt idx="276">
                  <c:v>1.X.21</c:v>
                </c:pt>
                <c:pt idx="277">
                  <c:v>2.X.21</c:v>
                </c:pt>
                <c:pt idx="278">
                  <c:v>3.X.21</c:v>
                </c:pt>
                <c:pt idx="279">
                  <c:v>4.X.21</c:v>
                </c:pt>
                <c:pt idx="280">
                  <c:v>5.X.21</c:v>
                </c:pt>
                <c:pt idx="281">
                  <c:v>6.X.21</c:v>
                </c:pt>
                <c:pt idx="282">
                  <c:v>7.X.21</c:v>
                </c:pt>
                <c:pt idx="283">
                  <c:v>8.X.21</c:v>
                </c:pt>
                <c:pt idx="284">
                  <c:v>9.X.21</c:v>
                </c:pt>
                <c:pt idx="285">
                  <c:v>10.X.21</c:v>
                </c:pt>
                <c:pt idx="286">
                  <c:v>11.X.21</c:v>
                </c:pt>
                <c:pt idx="287">
                  <c:v>12.X.21</c:v>
                </c:pt>
                <c:pt idx="288">
                  <c:v>13.X.21</c:v>
                </c:pt>
                <c:pt idx="289">
                  <c:v>14.X.21</c:v>
                </c:pt>
                <c:pt idx="290">
                  <c:v>15.X.21</c:v>
                </c:pt>
                <c:pt idx="291">
                  <c:v>16.X.21</c:v>
                </c:pt>
                <c:pt idx="292">
                  <c:v>17.X.21</c:v>
                </c:pt>
                <c:pt idx="293">
                  <c:v>18.X.21</c:v>
                </c:pt>
                <c:pt idx="294">
                  <c:v>19.X.21</c:v>
                </c:pt>
                <c:pt idx="295">
                  <c:v>20.X.21</c:v>
                </c:pt>
                <c:pt idx="296">
                  <c:v>21.X.21</c:v>
                </c:pt>
                <c:pt idx="297">
                  <c:v>22.X.21</c:v>
                </c:pt>
                <c:pt idx="298">
                  <c:v>23.X.21</c:v>
                </c:pt>
                <c:pt idx="299">
                  <c:v>24.X.21</c:v>
                </c:pt>
                <c:pt idx="300">
                  <c:v>25.X.21</c:v>
                </c:pt>
                <c:pt idx="301">
                  <c:v>26.X.21</c:v>
                </c:pt>
                <c:pt idx="302">
                  <c:v>27.X.21</c:v>
                </c:pt>
                <c:pt idx="303">
                  <c:v>28.X.21</c:v>
                </c:pt>
                <c:pt idx="304">
                  <c:v>29.X.21</c:v>
                </c:pt>
                <c:pt idx="305">
                  <c:v>30.X.21</c:v>
                </c:pt>
                <c:pt idx="306">
                  <c:v>31.X.21</c:v>
                </c:pt>
                <c:pt idx="307">
                  <c:v>1.XI.21</c:v>
                </c:pt>
                <c:pt idx="308">
                  <c:v>2.XI.21</c:v>
                </c:pt>
                <c:pt idx="309">
                  <c:v>3.XI.21</c:v>
                </c:pt>
                <c:pt idx="310">
                  <c:v>4.XI.21</c:v>
                </c:pt>
                <c:pt idx="311">
                  <c:v>5.XI.21</c:v>
                </c:pt>
                <c:pt idx="312">
                  <c:v>6.XI.21</c:v>
                </c:pt>
                <c:pt idx="313">
                  <c:v>7.XI.21</c:v>
                </c:pt>
                <c:pt idx="314">
                  <c:v>8.XI.21</c:v>
                </c:pt>
                <c:pt idx="315">
                  <c:v>9.XI.21</c:v>
                </c:pt>
                <c:pt idx="316">
                  <c:v>10.XI.21</c:v>
                </c:pt>
                <c:pt idx="317">
                  <c:v>11.XI.21</c:v>
                </c:pt>
                <c:pt idx="318">
                  <c:v>12.XI.21</c:v>
                </c:pt>
                <c:pt idx="319">
                  <c:v>13.XI.21</c:v>
                </c:pt>
                <c:pt idx="320">
                  <c:v>14.XI.21</c:v>
                </c:pt>
                <c:pt idx="321">
                  <c:v>15.XI.21</c:v>
                </c:pt>
                <c:pt idx="322">
                  <c:v>16.XI.21</c:v>
                </c:pt>
                <c:pt idx="323">
                  <c:v>17.XI.21</c:v>
                </c:pt>
                <c:pt idx="324">
                  <c:v>18.XI.21</c:v>
                </c:pt>
                <c:pt idx="325">
                  <c:v>19.XI.21</c:v>
                </c:pt>
                <c:pt idx="326">
                  <c:v>20.XI.21</c:v>
                </c:pt>
                <c:pt idx="327">
                  <c:v>21.XI.21</c:v>
                </c:pt>
                <c:pt idx="328">
                  <c:v>22.XI.21</c:v>
                </c:pt>
                <c:pt idx="329">
                  <c:v>23.XI.21</c:v>
                </c:pt>
                <c:pt idx="330">
                  <c:v>24.XI.21</c:v>
                </c:pt>
                <c:pt idx="331">
                  <c:v>25.XI.21</c:v>
                </c:pt>
                <c:pt idx="332">
                  <c:v>26.XI.21</c:v>
                </c:pt>
                <c:pt idx="333">
                  <c:v>27.XI.21</c:v>
                </c:pt>
                <c:pt idx="334">
                  <c:v>28.XI.21</c:v>
                </c:pt>
                <c:pt idx="335">
                  <c:v>29.XI.21</c:v>
                </c:pt>
                <c:pt idx="336">
                  <c:v>30.XI.21</c:v>
                </c:pt>
                <c:pt idx="337">
                  <c:v>1.XII.21</c:v>
                </c:pt>
                <c:pt idx="338">
                  <c:v>2.XII.21</c:v>
                </c:pt>
                <c:pt idx="339">
                  <c:v>3.XII.21</c:v>
                </c:pt>
                <c:pt idx="340">
                  <c:v>4.XII.21</c:v>
                </c:pt>
                <c:pt idx="341">
                  <c:v>5.XII.21</c:v>
                </c:pt>
                <c:pt idx="342">
                  <c:v>6.XII.21</c:v>
                </c:pt>
                <c:pt idx="343">
                  <c:v>7.XII.21</c:v>
                </c:pt>
                <c:pt idx="344">
                  <c:v>8.XII.21</c:v>
                </c:pt>
                <c:pt idx="345">
                  <c:v>9.XII.21</c:v>
                </c:pt>
                <c:pt idx="346">
                  <c:v>10.XII.21</c:v>
                </c:pt>
                <c:pt idx="347">
                  <c:v>11.XII.21</c:v>
                </c:pt>
                <c:pt idx="348">
                  <c:v>12.XII.21</c:v>
                </c:pt>
                <c:pt idx="349">
                  <c:v>13.XII.21</c:v>
                </c:pt>
                <c:pt idx="350">
                  <c:v>14.XII.21</c:v>
                </c:pt>
                <c:pt idx="351">
                  <c:v>15.XII.21</c:v>
                </c:pt>
                <c:pt idx="352">
                  <c:v>16.XII.21</c:v>
                </c:pt>
                <c:pt idx="353">
                  <c:v>17.XII.21</c:v>
                </c:pt>
                <c:pt idx="354">
                  <c:v>18.XII.21</c:v>
                </c:pt>
                <c:pt idx="355">
                  <c:v>19.XII.21</c:v>
                </c:pt>
                <c:pt idx="356">
                  <c:v>20.XII.21</c:v>
                </c:pt>
                <c:pt idx="357">
                  <c:v>21.XII.21</c:v>
                </c:pt>
                <c:pt idx="358">
                  <c:v>22.XII.21</c:v>
                </c:pt>
                <c:pt idx="359">
                  <c:v>23.XII.21</c:v>
                </c:pt>
                <c:pt idx="360">
                  <c:v>24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  <c:pt idx="372">
                  <c:v>8.I.22</c:v>
                </c:pt>
                <c:pt idx="373">
                  <c:v>9.I.22</c:v>
                </c:pt>
                <c:pt idx="374">
                  <c:v>10.I.22</c:v>
                </c:pt>
                <c:pt idx="375">
                  <c:v>11.I.22</c:v>
                </c:pt>
                <c:pt idx="376">
                  <c:v>12.I.22</c:v>
                </c:pt>
                <c:pt idx="377">
                  <c:v>13.I.22</c:v>
                </c:pt>
                <c:pt idx="378">
                  <c:v>14.I.22</c:v>
                </c:pt>
                <c:pt idx="379">
                  <c:v>15.I.22</c:v>
                </c:pt>
                <c:pt idx="380">
                  <c:v>16.I.22</c:v>
                </c:pt>
                <c:pt idx="381">
                  <c:v>17.I.22</c:v>
                </c:pt>
                <c:pt idx="382">
                  <c:v>18.I.22</c:v>
                </c:pt>
                <c:pt idx="383">
                  <c:v>19.I.22</c:v>
                </c:pt>
                <c:pt idx="384">
                  <c:v>20.I.22</c:v>
                </c:pt>
                <c:pt idx="385">
                  <c:v>21.I.22</c:v>
                </c:pt>
                <c:pt idx="386">
                  <c:v>22.I.22</c:v>
                </c:pt>
                <c:pt idx="387">
                  <c:v>23.I.22</c:v>
                </c:pt>
                <c:pt idx="388">
                  <c:v>24.I.22</c:v>
                </c:pt>
                <c:pt idx="389">
                  <c:v>25.I.22</c:v>
                </c:pt>
                <c:pt idx="390">
                  <c:v>26.I.22</c:v>
                </c:pt>
                <c:pt idx="391">
                  <c:v>27.I.22</c:v>
                </c:pt>
                <c:pt idx="392">
                  <c:v>28.I.22</c:v>
                </c:pt>
                <c:pt idx="393">
                  <c:v>29.I.22</c:v>
                </c:pt>
                <c:pt idx="394">
                  <c:v>30.I.22</c:v>
                </c:pt>
                <c:pt idx="395">
                  <c:v>31.I.22</c:v>
                </c:pt>
                <c:pt idx="396">
                  <c:v>1.II.22</c:v>
                </c:pt>
                <c:pt idx="397">
                  <c:v>2.II.22</c:v>
                </c:pt>
                <c:pt idx="398">
                  <c:v>3.II.22</c:v>
                </c:pt>
                <c:pt idx="399">
                  <c:v>4.II.22</c:v>
                </c:pt>
              </c:strCache>
            </c:strRef>
          </c:cat>
          <c:val>
            <c:numRef>
              <c:f>List1!$K$4:$OT$4</c:f>
              <c:numCache>
                <c:formatCode>General</c:formatCode>
                <c:ptCount val="400"/>
                <c:pt idx="0">
                  <c:v>1248</c:v>
                </c:pt>
                <c:pt idx="1">
                  <c:v>1873</c:v>
                </c:pt>
                <c:pt idx="2">
                  <c:v>2046</c:v>
                </c:pt>
                <c:pt idx="3">
                  <c:v>2075</c:v>
                </c:pt>
                <c:pt idx="4">
                  <c:v>2363</c:v>
                </c:pt>
                <c:pt idx="5">
                  <c:v>2574</c:v>
                </c:pt>
                <c:pt idx="6">
                  <c:v>3201</c:v>
                </c:pt>
                <c:pt idx="7">
                  <c:v>4164</c:v>
                </c:pt>
                <c:pt idx="8">
                  <c:v>5582</c:v>
                </c:pt>
                <c:pt idx="9">
                  <c:v>7182</c:v>
                </c:pt>
                <c:pt idx="10">
                  <c:v>9029</c:v>
                </c:pt>
                <c:pt idx="11">
                  <c:v>9337</c:v>
                </c:pt>
                <c:pt idx="12">
                  <c:v>9646</c:v>
                </c:pt>
                <c:pt idx="13">
                  <c:v>11513</c:v>
                </c:pt>
                <c:pt idx="14">
                  <c:v>13795</c:v>
                </c:pt>
                <c:pt idx="15">
                  <c:v>15838</c:v>
                </c:pt>
                <c:pt idx="16">
                  <c:v>17728</c:v>
                </c:pt>
                <c:pt idx="17">
                  <c:v>19340</c:v>
                </c:pt>
                <c:pt idx="18">
                  <c:v>19560</c:v>
                </c:pt>
                <c:pt idx="19">
                  <c:v>19656</c:v>
                </c:pt>
                <c:pt idx="20">
                  <c:v>20831</c:v>
                </c:pt>
                <c:pt idx="21">
                  <c:v>21764</c:v>
                </c:pt>
                <c:pt idx="22">
                  <c:v>22708</c:v>
                </c:pt>
                <c:pt idx="23">
                  <c:v>23566</c:v>
                </c:pt>
                <c:pt idx="24">
                  <c:v>24318</c:v>
                </c:pt>
                <c:pt idx="25">
                  <c:v>24382</c:v>
                </c:pt>
                <c:pt idx="26">
                  <c:v>24427</c:v>
                </c:pt>
                <c:pt idx="27">
                  <c:v>24878</c:v>
                </c:pt>
                <c:pt idx="28">
                  <c:v>25331</c:v>
                </c:pt>
                <c:pt idx="29">
                  <c:v>25728</c:v>
                </c:pt>
                <c:pt idx="30">
                  <c:v>26131</c:v>
                </c:pt>
                <c:pt idx="31">
                  <c:v>26515</c:v>
                </c:pt>
                <c:pt idx="32">
                  <c:v>26539</c:v>
                </c:pt>
                <c:pt idx="33">
                  <c:v>26571</c:v>
                </c:pt>
                <c:pt idx="34">
                  <c:v>26863</c:v>
                </c:pt>
                <c:pt idx="35">
                  <c:v>27153</c:v>
                </c:pt>
                <c:pt idx="36">
                  <c:v>27385</c:v>
                </c:pt>
                <c:pt idx="37">
                  <c:v>27569</c:v>
                </c:pt>
                <c:pt idx="38">
                  <c:v>27804</c:v>
                </c:pt>
                <c:pt idx="39">
                  <c:v>27813</c:v>
                </c:pt>
                <c:pt idx="40">
                  <c:v>27831</c:v>
                </c:pt>
                <c:pt idx="41">
                  <c:v>28068</c:v>
                </c:pt>
                <c:pt idx="42">
                  <c:v>28263</c:v>
                </c:pt>
                <c:pt idx="43">
                  <c:v>28530</c:v>
                </c:pt>
                <c:pt idx="44">
                  <c:v>28881</c:v>
                </c:pt>
                <c:pt idx="45">
                  <c:v>29273</c:v>
                </c:pt>
                <c:pt idx="46">
                  <c:v>29385</c:v>
                </c:pt>
                <c:pt idx="47">
                  <c:v>29451</c:v>
                </c:pt>
                <c:pt idx="48">
                  <c:v>29866</c:v>
                </c:pt>
                <c:pt idx="49">
                  <c:v>30372</c:v>
                </c:pt>
                <c:pt idx="50">
                  <c:v>30917</c:v>
                </c:pt>
                <c:pt idx="51">
                  <c:v>31475</c:v>
                </c:pt>
                <c:pt idx="52">
                  <c:v>32129</c:v>
                </c:pt>
                <c:pt idx="53">
                  <c:v>32354</c:v>
                </c:pt>
                <c:pt idx="54">
                  <c:v>32411</c:v>
                </c:pt>
                <c:pt idx="55">
                  <c:v>33096</c:v>
                </c:pt>
                <c:pt idx="56">
                  <c:v>34098</c:v>
                </c:pt>
                <c:pt idx="57">
                  <c:v>35176</c:v>
                </c:pt>
                <c:pt idx="58">
                  <c:v>36328</c:v>
                </c:pt>
                <c:pt idx="59">
                  <c:v>37401</c:v>
                </c:pt>
                <c:pt idx="60">
                  <c:v>37560</c:v>
                </c:pt>
                <c:pt idx="61">
                  <c:v>37690</c:v>
                </c:pt>
                <c:pt idx="62">
                  <c:v>38803</c:v>
                </c:pt>
                <c:pt idx="63">
                  <c:v>40013</c:v>
                </c:pt>
                <c:pt idx="64">
                  <c:v>41125</c:v>
                </c:pt>
                <c:pt idx="65">
                  <c:v>42126</c:v>
                </c:pt>
                <c:pt idx="66">
                  <c:v>43313</c:v>
                </c:pt>
                <c:pt idx="67">
                  <c:v>43603</c:v>
                </c:pt>
                <c:pt idx="68">
                  <c:v>43818</c:v>
                </c:pt>
                <c:pt idx="69">
                  <c:v>44661</c:v>
                </c:pt>
                <c:pt idx="70">
                  <c:v>45484</c:v>
                </c:pt>
                <c:pt idx="71">
                  <c:v>46382</c:v>
                </c:pt>
                <c:pt idx="72">
                  <c:v>47580</c:v>
                </c:pt>
                <c:pt idx="73">
                  <c:v>48693</c:v>
                </c:pt>
                <c:pt idx="74">
                  <c:v>48977</c:v>
                </c:pt>
                <c:pt idx="75">
                  <c:v>49218</c:v>
                </c:pt>
                <c:pt idx="76">
                  <c:v>49850</c:v>
                </c:pt>
                <c:pt idx="77">
                  <c:v>50779</c:v>
                </c:pt>
                <c:pt idx="78">
                  <c:v>51718</c:v>
                </c:pt>
                <c:pt idx="79">
                  <c:v>52496</c:v>
                </c:pt>
                <c:pt idx="80">
                  <c:v>53453</c:v>
                </c:pt>
                <c:pt idx="81">
                  <c:v>53853</c:v>
                </c:pt>
                <c:pt idx="82">
                  <c:v>54059</c:v>
                </c:pt>
                <c:pt idx="83">
                  <c:v>54508</c:v>
                </c:pt>
                <c:pt idx="84">
                  <c:v>55002</c:v>
                </c:pt>
                <c:pt idx="85">
                  <c:v>55419</c:v>
                </c:pt>
                <c:pt idx="86">
                  <c:v>55964</c:v>
                </c:pt>
                <c:pt idx="87">
                  <c:v>56542</c:v>
                </c:pt>
                <c:pt idx="88">
                  <c:v>56702</c:v>
                </c:pt>
                <c:pt idx="89">
                  <c:v>56838</c:v>
                </c:pt>
                <c:pt idx="90">
                  <c:v>57148</c:v>
                </c:pt>
                <c:pt idx="91">
                  <c:v>57570</c:v>
                </c:pt>
                <c:pt idx="92">
                  <c:v>58065</c:v>
                </c:pt>
                <c:pt idx="93">
                  <c:v>58495</c:v>
                </c:pt>
                <c:pt idx="94">
                  <c:v>58582</c:v>
                </c:pt>
                <c:pt idx="95">
                  <c:v>58640</c:v>
                </c:pt>
                <c:pt idx="96">
                  <c:v>58678</c:v>
                </c:pt>
                <c:pt idx="97">
                  <c:v>58707</c:v>
                </c:pt>
                <c:pt idx="98">
                  <c:v>58937</c:v>
                </c:pt>
                <c:pt idx="99">
                  <c:v>59201</c:v>
                </c:pt>
                <c:pt idx="100">
                  <c:v>59741</c:v>
                </c:pt>
                <c:pt idx="101">
                  <c:v>60244</c:v>
                </c:pt>
                <c:pt idx="102">
                  <c:v>60417</c:v>
                </c:pt>
                <c:pt idx="103">
                  <c:v>60533</c:v>
                </c:pt>
                <c:pt idx="104">
                  <c:v>60911</c:v>
                </c:pt>
                <c:pt idx="105">
                  <c:v>61224</c:v>
                </c:pt>
                <c:pt idx="106">
                  <c:v>61609</c:v>
                </c:pt>
                <c:pt idx="107">
                  <c:v>62160</c:v>
                </c:pt>
                <c:pt idx="108">
                  <c:v>62809</c:v>
                </c:pt>
                <c:pt idx="109">
                  <c:v>62987</c:v>
                </c:pt>
                <c:pt idx="110">
                  <c:v>63181</c:v>
                </c:pt>
                <c:pt idx="111">
                  <c:v>63638</c:v>
                </c:pt>
                <c:pt idx="112">
                  <c:v>64064</c:v>
                </c:pt>
                <c:pt idx="113">
                  <c:v>64564</c:v>
                </c:pt>
                <c:pt idx="114">
                  <c:v>65165</c:v>
                </c:pt>
                <c:pt idx="115">
                  <c:v>65813</c:v>
                </c:pt>
                <c:pt idx="116">
                  <c:v>65998</c:v>
                </c:pt>
                <c:pt idx="117">
                  <c:v>66149</c:v>
                </c:pt>
                <c:pt idx="118">
                  <c:v>66631</c:v>
                </c:pt>
                <c:pt idx="119">
                  <c:v>67054</c:v>
                </c:pt>
                <c:pt idx="120">
                  <c:v>67622</c:v>
                </c:pt>
                <c:pt idx="121">
                  <c:v>68209</c:v>
                </c:pt>
                <c:pt idx="122">
                  <c:v>68827</c:v>
                </c:pt>
                <c:pt idx="123">
                  <c:v>68981</c:v>
                </c:pt>
                <c:pt idx="124">
                  <c:v>69136</c:v>
                </c:pt>
                <c:pt idx="125">
                  <c:v>69592</c:v>
                </c:pt>
                <c:pt idx="126">
                  <c:v>70051</c:v>
                </c:pt>
                <c:pt idx="127">
                  <c:v>70578</c:v>
                </c:pt>
                <c:pt idx="128">
                  <c:v>71110</c:v>
                </c:pt>
                <c:pt idx="129">
                  <c:v>71673</c:v>
                </c:pt>
                <c:pt idx="130">
                  <c:v>71896</c:v>
                </c:pt>
                <c:pt idx="131">
                  <c:v>72067</c:v>
                </c:pt>
                <c:pt idx="132">
                  <c:v>72543</c:v>
                </c:pt>
                <c:pt idx="133">
                  <c:v>72976</c:v>
                </c:pt>
                <c:pt idx="134">
                  <c:v>73453</c:v>
                </c:pt>
                <c:pt idx="135">
                  <c:v>74002</c:v>
                </c:pt>
                <c:pt idx="136">
                  <c:v>74514</c:v>
                </c:pt>
                <c:pt idx="137">
                  <c:v>74724</c:v>
                </c:pt>
                <c:pt idx="138">
                  <c:v>74876</c:v>
                </c:pt>
                <c:pt idx="139">
                  <c:v>75266</c:v>
                </c:pt>
                <c:pt idx="140">
                  <c:v>75684</c:v>
                </c:pt>
                <c:pt idx="141">
                  <c:v>76148</c:v>
                </c:pt>
                <c:pt idx="142">
                  <c:v>76594</c:v>
                </c:pt>
                <c:pt idx="143">
                  <c:v>77051</c:v>
                </c:pt>
                <c:pt idx="144">
                  <c:v>77229</c:v>
                </c:pt>
                <c:pt idx="145">
                  <c:v>77345</c:v>
                </c:pt>
                <c:pt idx="146">
                  <c:v>77634</c:v>
                </c:pt>
                <c:pt idx="147">
                  <c:v>77964</c:v>
                </c:pt>
                <c:pt idx="148">
                  <c:v>78376</c:v>
                </c:pt>
                <c:pt idx="149">
                  <c:v>78752</c:v>
                </c:pt>
                <c:pt idx="150">
                  <c:v>79191</c:v>
                </c:pt>
                <c:pt idx="151">
                  <c:v>79379</c:v>
                </c:pt>
                <c:pt idx="152">
                  <c:v>79547</c:v>
                </c:pt>
                <c:pt idx="153">
                  <c:v>79890</c:v>
                </c:pt>
                <c:pt idx="154">
                  <c:v>80262</c:v>
                </c:pt>
                <c:pt idx="155">
                  <c:v>80714</c:v>
                </c:pt>
                <c:pt idx="156">
                  <c:v>81132</c:v>
                </c:pt>
                <c:pt idx="157">
                  <c:v>81599</c:v>
                </c:pt>
                <c:pt idx="158">
                  <c:v>81861</c:v>
                </c:pt>
                <c:pt idx="159">
                  <c:v>82106</c:v>
                </c:pt>
                <c:pt idx="160">
                  <c:v>82585</c:v>
                </c:pt>
                <c:pt idx="161">
                  <c:v>83133</c:v>
                </c:pt>
                <c:pt idx="162">
                  <c:v>83624</c:v>
                </c:pt>
                <c:pt idx="163">
                  <c:v>84058</c:v>
                </c:pt>
                <c:pt idx="164">
                  <c:v>84522</c:v>
                </c:pt>
                <c:pt idx="165">
                  <c:v>84814</c:v>
                </c:pt>
                <c:pt idx="166">
                  <c:v>85042</c:v>
                </c:pt>
                <c:pt idx="167">
                  <c:v>85399</c:v>
                </c:pt>
                <c:pt idx="168">
                  <c:v>85835</c:v>
                </c:pt>
                <c:pt idx="169">
                  <c:v>86225</c:v>
                </c:pt>
                <c:pt idx="170">
                  <c:v>86594</c:v>
                </c:pt>
                <c:pt idx="171">
                  <c:v>86976</c:v>
                </c:pt>
                <c:pt idx="172">
                  <c:v>87167</c:v>
                </c:pt>
                <c:pt idx="173">
                  <c:v>87309</c:v>
                </c:pt>
                <c:pt idx="174">
                  <c:v>87608</c:v>
                </c:pt>
                <c:pt idx="175">
                  <c:v>87927</c:v>
                </c:pt>
                <c:pt idx="176">
                  <c:v>88184</c:v>
                </c:pt>
                <c:pt idx="177">
                  <c:v>88474</c:v>
                </c:pt>
                <c:pt idx="178">
                  <c:v>88734</c:v>
                </c:pt>
                <c:pt idx="179">
                  <c:v>88886</c:v>
                </c:pt>
                <c:pt idx="180">
                  <c:v>88999</c:v>
                </c:pt>
                <c:pt idx="181">
                  <c:v>89272</c:v>
                </c:pt>
                <c:pt idx="182">
                  <c:v>89521</c:v>
                </c:pt>
                <c:pt idx="183">
                  <c:v>89765</c:v>
                </c:pt>
                <c:pt idx="184">
                  <c:v>89944</c:v>
                </c:pt>
                <c:pt idx="185">
                  <c:v>90182</c:v>
                </c:pt>
                <c:pt idx="186">
                  <c:v>90234</c:v>
                </c:pt>
                <c:pt idx="187">
                  <c:v>90294</c:v>
                </c:pt>
                <c:pt idx="188">
                  <c:v>90352</c:v>
                </c:pt>
                <c:pt idx="189">
                  <c:v>90412</c:v>
                </c:pt>
                <c:pt idx="190">
                  <c:v>90621</c:v>
                </c:pt>
                <c:pt idx="191">
                  <c:v>90839</c:v>
                </c:pt>
                <c:pt idx="192">
                  <c:v>91064</c:v>
                </c:pt>
                <c:pt idx="193">
                  <c:v>91157</c:v>
                </c:pt>
                <c:pt idx="194">
                  <c:v>91215</c:v>
                </c:pt>
                <c:pt idx="195">
                  <c:v>91451</c:v>
                </c:pt>
                <c:pt idx="196">
                  <c:v>91671</c:v>
                </c:pt>
                <c:pt idx="197">
                  <c:v>91912</c:v>
                </c:pt>
                <c:pt idx="198">
                  <c:v>92160</c:v>
                </c:pt>
                <c:pt idx="199">
                  <c:v>92412</c:v>
                </c:pt>
                <c:pt idx="200">
                  <c:v>92522</c:v>
                </c:pt>
                <c:pt idx="201">
                  <c:v>92592</c:v>
                </c:pt>
                <c:pt idx="202">
                  <c:v>92796</c:v>
                </c:pt>
                <c:pt idx="203">
                  <c:v>92957</c:v>
                </c:pt>
                <c:pt idx="204">
                  <c:v>93178</c:v>
                </c:pt>
                <c:pt idx="205">
                  <c:v>93359</c:v>
                </c:pt>
                <c:pt idx="206">
                  <c:v>93572</c:v>
                </c:pt>
                <c:pt idx="207">
                  <c:v>93634</c:v>
                </c:pt>
                <c:pt idx="208">
                  <c:v>93689</c:v>
                </c:pt>
                <c:pt idx="209">
                  <c:v>93871</c:v>
                </c:pt>
                <c:pt idx="210">
                  <c:v>94070</c:v>
                </c:pt>
                <c:pt idx="211">
                  <c:v>94247</c:v>
                </c:pt>
                <c:pt idx="212">
                  <c:v>94407</c:v>
                </c:pt>
                <c:pt idx="213">
                  <c:v>94619</c:v>
                </c:pt>
                <c:pt idx="214">
                  <c:v>94685</c:v>
                </c:pt>
                <c:pt idx="215">
                  <c:v>94735</c:v>
                </c:pt>
                <c:pt idx="216">
                  <c:v>94882</c:v>
                </c:pt>
                <c:pt idx="217">
                  <c:v>95012</c:v>
                </c:pt>
                <c:pt idx="218">
                  <c:v>95157</c:v>
                </c:pt>
                <c:pt idx="219">
                  <c:v>95284</c:v>
                </c:pt>
                <c:pt idx="220">
                  <c:v>95413</c:v>
                </c:pt>
                <c:pt idx="221">
                  <c:v>95451</c:v>
                </c:pt>
                <c:pt idx="222">
                  <c:v>95485</c:v>
                </c:pt>
                <c:pt idx="223">
                  <c:v>95589</c:v>
                </c:pt>
                <c:pt idx="224">
                  <c:v>95705</c:v>
                </c:pt>
                <c:pt idx="225">
                  <c:v>95778</c:v>
                </c:pt>
                <c:pt idx="226">
                  <c:v>95883</c:v>
                </c:pt>
                <c:pt idx="227">
                  <c:v>95987</c:v>
                </c:pt>
                <c:pt idx="228">
                  <c:v>96013</c:v>
                </c:pt>
                <c:pt idx="229">
                  <c:v>96032</c:v>
                </c:pt>
                <c:pt idx="230">
                  <c:v>96114</c:v>
                </c:pt>
                <c:pt idx="231">
                  <c:v>96193</c:v>
                </c:pt>
                <c:pt idx="232">
                  <c:v>96276</c:v>
                </c:pt>
                <c:pt idx="233">
                  <c:v>96348</c:v>
                </c:pt>
                <c:pt idx="234">
                  <c:v>96446</c:v>
                </c:pt>
                <c:pt idx="235">
                  <c:v>96464</c:v>
                </c:pt>
                <c:pt idx="236">
                  <c:v>96483</c:v>
                </c:pt>
                <c:pt idx="237">
                  <c:v>96577</c:v>
                </c:pt>
                <c:pt idx="238">
                  <c:v>96652</c:v>
                </c:pt>
                <c:pt idx="239">
                  <c:v>96729</c:v>
                </c:pt>
                <c:pt idx="240">
                  <c:v>96792</c:v>
                </c:pt>
                <c:pt idx="241">
                  <c:v>96895</c:v>
                </c:pt>
                <c:pt idx="242">
                  <c:v>96921</c:v>
                </c:pt>
                <c:pt idx="243">
                  <c:v>96931</c:v>
                </c:pt>
                <c:pt idx="244">
                  <c:v>97010</c:v>
                </c:pt>
                <c:pt idx="245">
                  <c:v>97089</c:v>
                </c:pt>
                <c:pt idx="246">
                  <c:v>97138</c:v>
                </c:pt>
                <c:pt idx="247">
                  <c:v>97211</c:v>
                </c:pt>
                <c:pt idx="248">
                  <c:v>97304</c:v>
                </c:pt>
                <c:pt idx="249">
                  <c:v>97319</c:v>
                </c:pt>
                <c:pt idx="250">
                  <c:v>97337</c:v>
                </c:pt>
                <c:pt idx="251">
                  <c:v>97401</c:v>
                </c:pt>
                <c:pt idx="252">
                  <c:v>97436</c:v>
                </c:pt>
                <c:pt idx="253">
                  <c:v>97489</c:v>
                </c:pt>
                <c:pt idx="254">
                  <c:v>97548</c:v>
                </c:pt>
                <c:pt idx="255">
                  <c:v>97618</c:v>
                </c:pt>
                <c:pt idx="256">
                  <c:v>97634</c:v>
                </c:pt>
                <c:pt idx="257">
                  <c:v>97647</c:v>
                </c:pt>
                <c:pt idx="258">
                  <c:v>97695</c:v>
                </c:pt>
                <c:pt idx="259">
                  <c:v>97746</c:v>
                </c:pt>
                <c:pt idx="260">
                  <c:v>97789</c:v>
                </c:pt>
                <c:pt idx="261">
                  <c:v>97835</c:v>
                </c:pt>
                <c:pt idx="262">
                  <c:v>97907</c:v>
                </c:pt>
                <c:pt idx="263">
                  <c:v>97926</c:v>
                </c:pt>
                <c:pt idx="264">
                  <c:v>97932</c:v>
                </c:pt>
                <c:pt idx="265">
                  <c:v>97976</c:v>
                </c:pt>
                <c:pt idx="266">
                  <c:v>98023</c:v>
                </c:pt>
                <c:pt idx="267">
                  <c:v>98066</c:v>
                </c:pt>
                <c:pt idx="268">
                  <c:v>98124</c:v>
                </c:pt>
                <c:pt idx="269">
                  <c:v>98193</c:v>
                </c:pt>
                <c:pt idx="270">
                  <c:v>98209</c:v>
                </c:pt>
                <c:pt idx="271">
                  <c:v>98215</c:v>
                </c:pt>
                <c:pt idx="272">
                  <c:v>98257</c:v>
                </c:pt>
                <c:pt idx="273">
                  <c:v>98263</c:v>
                </c:pt>
                <c:pt idx="274">
                  <c:v>98290</c:v>
                </c:pt>
                <c:pt idx="275">
                  <c:v>98336</c:v>
                </c:pt>
                <c:pt idx="276">
                  <c:v>98374</c:v>
                </c:pt>
                <c:pt idx="277">
                  <c:v>98382</c:v>
                </c:pt>
                <c:pt idx="278">
                  <c:v>98389</c:v>
                </c:pt>
                <c:pt idx="279">
                  <c:v>98419</c:v>
                </c:pt>
                <c:pt idx="280">
                  <c:v>98448</c:v>
                </c:pt>
                <c:pt idx="281">
                  <c:v>98486</c:v>
                </c:pt>
                <c:pt idx="282">
                  <c:v>98510</c:v>
                </c:pt>
                <c:pt idx="283">
                  <c:v>98558</c:v>
                </c:pt>
                <c:pt idx="284">
                  <c:v>98567</c:v>
                </c:pt>
                <c:pt idx="285">
                  <c:v>98574</c:v>
                </c:pt>
                <c:pt idx="286">
                  <c:v>98602</c:v>
                </c:pt>
                <c:pt idx="287">
                  <c:v>98648</c:v>
                </c:pt>
                <c:pt idx="288">
                  <c:v>98685</c:v>
                </c:pt>
                <c:pt idx="289">
                  <c:v>98713</c:v>
                </c:pt>
                <c:pt idx="290">
                  <c:v>98771</c:v>
                </c:pt>
                <c:pt idx="291">
                  <c:v>98788</c:v>
                </c:pt>
                <c:pt idx="292">
                  <c:v>98799</c:v>
                </c:pt>
                <c:pt idx="293">
                  <c:v>98857</c:v>
                </c:pt>
                <c:pt idx="294">
                  <c:v>98889</c:v>
                </c:pt>
                <c:pt idx="295">
                  <c:v>98948</c:v>
                </c:pt>
                <c:pt idx="296">
                  <c:v>99048</c:v>
                </c:pt>
                <c:pt idx="297">
                  <c:v>99192</c:v>
                </c:pt>
                <c:pt idx="298">
                  <c:v>99242</c:v>
                </c:pt>
                <c:pt idx="299">
                  <c:v>99276</c:v>
                </c:pt>
                <c:pt idx="300">
                  <c:v>99393</c:v>
                </c:pt>
                <c:pt idx="301">
                  <c:v>99550</c:v>
                </c:pt>
                <c:pt idx="302">
                  <c:v>99720</c:v>
                </c:pt>
                <c:pt idx="303">
                  <c:v>99760</c:v>
                </c:pt>
                <c:pt idx="304">
                  <c:v>99941</c:v>
                </c:pt>
                <c:pt idx="305">
                  <c:v>99991</c:v>
                </c:pt>
                <c:pt idx="306">
                  <c:v>100026</c:v>
                </c:pt>
                <c:pt idx="307">
                  <c:v>100230</c:v>
                </c:pt>
                <c:pt idx="308">
                  <c:v>100407</c:v>
                </c:pt>
                <c:pt idx="309">
                  <c:v>100599</c:v>
                </c:pt>
                <c:pt idx="310">
                  <c:v>100807</c:v>
                </c:pt>
                <c:pt idx="311">
                  <c:v>101058</c:v>
                </c:pt>
                <c:pt idx="312">
                  <c:v>101131</c:v>
                </c:pt>
                <c:pt idx="313">
                  <c:v>101175</c:v>
                </c:pt>
                <c:pt idx="314">
                  <c:v>101359</c:v>
                </c:pt>
                <c:pt idx="315">
                  <c:v>101509</c:v>
                </c:pt>
                <c:pt idx="316">
                  <c:v>101673</c:v>
                </c:pt>
                <c:pt idx="317">
                  <c:v>101861</c:v>
                </c:pt>
                <c:pt idx="318">
                  <c:v>102127</c:v>
                </c:pt>
                <c:pt idx="319">
                  <c:v>102181</c:v>
                </c:pt>
                <c:pt idx="320">
                  <c:v>102219</c:v>
                </c:pt>
                <c:pt idx="321">
                  <c:v>102402</c:v>
                </c:pt>
                <c:pt idx="322">
                  <c:v>102613</c:v>
                </c:pt>
                <c:pt idx="323">
                  <c:v>102652</c:v>
                </c:pt>
                <c:pt idx="324">
                  <c:v>102892</c:v>
                </c:pt>
                <c:pt idx="325">
                  <c:v>103171</c:v>
                </c:pt>
                <c:pt idx="326">
                  <c:v>103250</c:v>
                </c:pt>
                <c:pt idx="327">
                  <c:v>103314</c:v>
                </c:pt>
                <c:pt idx="328">
                  <c:v>103501</c:v>
                </c:pt>
                <c:pt idx="329">
                  <c:v>103694</c:v>
                </c:pt>
                <c:pt idx="330">
                  <c:v>103895</c:v>
                </c:pt>
                <c:pt idx="331">
                  <c:v>104106</c:v>
                </c:pt>
                <c:pt idx="332">
                  <c:v>104326</c:v>
                </c:pt>
                <c:pt idx="333">
                  <c:v>104404</c:v>
                </c:pt>
                <c:pt idx="334">
                  <c:v>104427</c:v>
                </c:pt>
                <c:pt idx="335">
                  <c:v>104597</c:v>
                </c:pt>
                <c:pt idx="336">
                  <c:v>104744</c:v>
                </c:pt>
                <c:pt idx="337">
                  <c:v>104905</c:v>
                </c:pt>
                <c:pt idx="338">
                  <c:v>105017</c:v>
                </c:pt>
                <c:pt idx="339">
                  <c:v>105136</c:v>
                </c:pt>
                <c:pt idx="340">
                  <c:v>105158</c:v>
                </c:pt>
                <c:pt idx="341">
                  <c:v>105166</c:v>
                </c:pt>
                <c:pt idx="342">
                  <c:v>105239</c:v>
                </c:pt>
                <c:pt idx="343">
                  <c:v>105316</c:v>
                </c:pt>
                <c:pt idx="344">
                  <c:v>105405</c:v>
                </c:pt>
                <c:pt idx="345">
                  <c:v>105479</c:v>
                </c:pt>
                <c:pt idx="346">
                  <c:v>105566</c:v>
                </c:pt>
                <c:pt idx="347">
                  <c:v>105585</c:v>
                </c:pt>
                <c:pt idx="348">
                  <c:v>105598</c:v>
                </c:pt>
                <c:pt idx="349">
                  <c:v>105674</c:v>
                </c:pt>
                <c:pt idx="350">
                  <c:v>105747</c:v>
                </c:pt>
                <c:pt idx="351">
                  <c:v>105793</c:v>
                </c:pt>
                <c:pt idx="352">
                  <c:v>105867</c:v>
                </c:pt>
                <c:pt idx="353">
                  <c:v>105957</c:v>
                </c:pt>
                <c:pt idx="354">
                  <c:v>105983</c:v>
                </c:pt>
                <c:pt idx="355">
                  <c:v>105992</c:v>
                </c:pt>
                <c:pt idx="356">
                  <c:v>106048</c:v>
                </c:pt>
                <c:pt idx="357">
                  <c:v>106106</c:v>
                </c:pt>
                <c:pt idx="358">
                  <c:v>106145</c:v>
                </c:pt>
                <c:pt idx="359">
                  <c:v>106155</c:v>
                </c:pt>
                <c:pt idx="360">
                  <c:v>106155</c:v>
                </c:pt>
                <c:pt idx="361">
                  <c:v>106183</c:v>
                </c:pt>
                <c:pt idx="362">
                  <c:v>106212</c:v>
                </c:pt>
                <c:pt idx="363">
                  <c:v>106238</c:v>
                </c:pt>
                <c:pt idx="364">
                  <c:v>106271</c:v>
                </c:pt>
                <c:pt idx="365">
                  <c:v>106273</c:v>
                </c:pt>
                <c:pt idx="366">
                  <c:v>106276</c:v>
                </c:pt>
                <c:pt idx="367">
                  <c:v>106308</c:v>
                </c:pt>
                <c:pt idx="368">
                  <c:v>106351</c:v>
                </c:pt>
                <c:pt idx="369">
                  <c:v>106385</c:v>
                </c:pt>
                <c:pt idx="370">
                  <c:v>106436</c:v>
                </c:pt>
                <c:pt idx="371">
                  <c:v>106513</c:v>
                </c:pt>
                <c:pt idx="372">
                  <c:v>106525</c:v>
                </c:pt>
                <c:pt idx="373">
                  <c:v>106537</c:v>
                </c:pt>
                <c:pt idx="374">
                  <c:v>106575</c:v>
                </c:pt>
                <c:pt idx="375">
                  <c:v>106614</c:v>
                </c:pt>
                <c:pt idx="376">
                  <c:v>106661</c:v>
                </c:pt>
                <c:pt idx="377">
                  <c:v>106709</c:v>
                </c:pt>
                <c:pt idx="378">
                  <c:v>106769</c:v>
                </c:pt>
                <c:pt idx="379">
                  <c:v>106789</c:v>
                </c:pt>
                <c:pt idx="380">
                  <c:v>106799</c:v>
                </c:pt>
                <c:pt idx="381">
                  <c:v>106838</c:v>
                </c:pt>
                <c:pt idx="382">
                  <c:v>106886</c:v>
                </c:pt>
                <c:pt idx="383">
                  <c:v>106913</c:v>
                </c:pt>
                <c:pt idx="384">
                  <c:v>106938</c:v>
                </c:pt>
                <c:pt idx="385">
                  <c:v>106988</c:v>
                </c:pt>
                <c:pt idx="386">
                  <c:v>106992</c:v>
                </c:pt>
                <c:pt idx="387">
                  <c:v>106997</c:v>
                </c:pt>
                <c:pt idx="388">
                  <c:v>107018</c:v>
                </c:pt>
                <c:pt idx="389">
                  <c:v>107037</c:v>
                </c:pt>
                <c:pt idx="390">
                  <c:v>107059</c:v>
                </c:pt>
                <c:pt idx="391">
                  <c:v>107077</c:v>
                </c:pt>
                <c:pt idx="392">
                  <c:v>107104</c:v>
                </c:pt>
                <c:pt idx="393">
                  <c:v>107110</c:v>
                </c:pt>
                <c:pt idx="394">
                  <c:v>107112</c:v>
                </c:pt>
                <c:pt idx="395">
                  <c:v>107119</c:v>
                </c:pt>
                <c:pt idx="396">
                  <c:v>107128</c:v>
                </c:pt>
                <c:pt idx="397">
                  <c:v>107139</c:v>
                </c:pt>
                <c:pt idx="398">
                  <c:v>107147</c:v>
                </c:pt>
                <c:pt idx="399">
                  <c:v>1071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K$1:$OT$1</c:f>
              <c:strCache>
                <c:ptCount val="400"/>
                <c:pt idx="0">
                  <c:v>29.XII.20</c:v>
                </c:pt>
                <c:pt idx="1">
                  <c:v>30.XII.20</c:v>
                </c:pt>
                <c:pt idx="2">
                  <c:v>31.XII.20</c:v>
                </c:pt>
                <c:pt idx="3">
                  <c:v>1.I.21</c:v>
                </c:pt>
                <c:pt idx="4">
                  <c:v>2.I.21</c:v>
                </c:pt>
                <c:pt idx="5">
                  <c:v>3.I.21</c:v>
                </c:pt>
                <c:pt idx="6">
                  <c:v>4.I.21</c:v>
                </c:pt>
                <c:pt idx="7">
                  <c:v>5.I.21</c:v>
                </c:pt>
                <c:pt idx="8">
                  <c:v>6.I.21</c:v>
                </c:pt>
                <c:pt idx="9">
                  <c:v>7.I.21</c:v>
                </c:pt>
                <c:pt idx="10">
                  <c:v>8.I.21</c:v>
                </c:pt>
                <c:pt idx="11">
                  <c:v>9.I.21</c:v>
                </c:pt>
                <c:pt idx="12">
                  <c:v>10.I.21</c:v>
                </c:pt>
                <c:pt idx="13">
                  <c:v>11.I.21</c:v>
                </c:pt>
                <c:pt idx="14">
                  <c:v>12.I.21</c:v>
                </c:pt>
                <c:pt idx="15">
                  <c:v>13.I.21</c:v>
                </c:pt>
                <c:pt idx="16">
                  <c:v>14.I.21</c:v>
                </c:pt>
                <c:pt idx="17">
                  <c:v>15.I.21</c:v>
                </c:pt>
                <c:pt idx="18">
                  <c:v>16.I.21</c:v>
                </c:pt>
                <c:pt idx="19">
                  <c:v>17.I.21</c:v>
                </c:pt>
                <c:pt idx="20">
                  <c:v>18.I.21</c:v>
                </c:pt>
                <c:pt idx="21">
                  <c:v>19.I.21</c:v>
                </c:pt>
                <c:pt idx="22">
                  <c:v>20.I.21</c:v>
                </c:pt>
                <c:pt idx="23">
                  <c:v>21.I.21</c:v>
                </c:pt>
                <c:pt idx="24">
                  <c:v>22.I.21</c:v>
                </c:pt>
                <c:pt idx="25">
                  <c:v>23.I.21</c:v>
                </c:pt>
                <c:pt idx="26">
                  <c:v>24.I.21</c:v>
                </c:pt>
                <c:pt idx="27">
                  <c:v>25.I.21</c:v>
                </c:pt>
                <c:pt idx="28">
                  <c:v>26.I.21</c:v>
                </c:pt>
                <c:pt idx="29">
                  <c:v>27.I.21</c:v>
                </c:pt>
                <c:pt idx="30">
                  <c:v>28.I.21</c:v>
                </c:pt>
                <c:pt idx="31">
                  <c:v>29.I.21</c:v>
                </c:pt>
                <c:pt idx="32">
                  <c:v>30.I.21</c:v>
                </c:pt>
                <c:pt idx="33">
                  <c:v>31.I.21</c:v>
                </c:pt>
                <c:pt idx="34">
                  <c:v>1.II.21</c:v>
                </c:pt>
                <c:pt idx="35">
                  <c:v>2.II.21</c:v>
                </c:pt>
                <c:pt idx="36">
                  <c:v>3.II.21</c:v>
                </c:pt>
                <c:pt idx="37">
                  <c:v>4.II.21</c:v>
                </c:pt>
                <c:pt idx="38">
                  <c:v>5.II.21</c:v>
                </c:pt>
                <c:pt idx="39">
                  <c:v>6.II.21</c:v>
                </c:pt>
                <c:pt idx="40">
                  <c:v>7.II.21</c:v>
                </c:pt>
                <c:pt idx="41">
                  <c:v>8.II.21</c:v>
                </c:pt>
                <c:pt idx="42">
                  <c:v>9.II.21</c:v>
                </c:pt>
                <c:pt idx="43">
                  <c:v>10.II.21</c:v>
                </c:pt>
                <c:pt idx="44">
                  <c:v>11.II.21</c:v>
                </c:pt>
                <c:pt idx="45">
                  <c:v>12.II.21</c:v>
                </c:pt>
                <c:pt idx="46">
                  <c:v>13.II.21</c:v>
                </c:pt>
                <c:pt idx="47">
                  <c:v>14.II.21</c:v>
                </c:pt>
                <c:pt idx="48">
                  <c:v>15.II.21</c:v>
                </c:pt>
                <c:pt idx="49">
                  <c:v>16.II.21</c:v>
                </c:pt>
                <c:pt idx="50">
                  <c:v>17.II.21</c:v>
                </c:pt>
                <c:pt idx="51">
                  <c:v>18.II.21</c:v>
                </c:pt>
                <c:pt idx="52">
                  <c:v>19.II.21</c:v>
                </c:pt>
                <c:pt idx="53">
                  <c:v>20.II.21</c:v>
                </c:pt>
                <c:pt idx="54">
                  <c:v>21.II.21</c:v>
                </c:pt>
                <c:pt idx="55">
                  <c:v>22.II.21</c:v>
                </c:pt>
                <c:pt idx="56">
                  <c:v>23.II.21</c:v>
                </c:pt>
                <c:pt idx="57">
                  <c:v>24.II.21</c:v>
                </c:pt>
                <c:pt idx="58">
                  <c:v>25.II.21</c:v>
                </c:pt>
                <c:pt idx="59">
                  <c:v>26.II.21</c:v>
                </c:pt>
                <c:pt idx="60">
                  <c:v>27.II.21</c:v>
                </c:pt>
                <c:pt idx="61">
                  <c:v>28.II.21</c:v>
                </c:pt>
                <c:pt idx="62">
                  <c:v>1.III.21</c:v>
                </c:pt>
                <c:pt idx="63">
                  <c:v>2.III.21</c:v>
                </c:pt>
                <c:pt idx="64">
                  <c:v>3.III.21</c:v>
                </c:pt>
                <c:pt idx="65">
                  <c:v>4.III.21</c:v>
                </c:pt>
                <c:pt idx="66">
                  <c:v>5.III.21</c:v>
                </c:pt>
                <c:pt idx="67">
                  <c:v>6.III.21</c:v>
                </c:pt>
                <c:pt idx="68">
                  <c:v>7.III.21</c:v>
                </c:pt>
                <c:pt idx="69">
                  <c:v>8.III.21</c:v>
                </c:pt>
                <c:pt idx="70">
                  <c:v>9.III.21</c:v>
                </c:pt>
                <c:pt idx="71">
                  <c:v>10.III.21</c:v>
                </c:pt>
                <c:pt idx="72">
                  <c:v>11.III.21</c:v>
                </c:pt>
                <c:pt idx="73">
                  <c:v>12.III.21</c:v>
                </c:pt>
                <c:pt idx="74">
                  <c:v>13.III.21</c:v>
                </c:pt>
                <c:pt idx="75">
                  <c:v>14.III.21</c:v>
                </c:pt>
                <c:pt idx="76">
                  <c:v>15.III.21</c:v>
                </c:pt>
                <c:pt idx="77">
                  <c:v>16.III.21</c:v>
                </c:pt>
                <c:pt idx="78">
                  <c:v>17.III.21</c:v>
                </c:pt>
                <c:pt idx="79">
                  <c:v>18.III.21</c:v>
                </c:pt>
                <c:pt idx="80">
                  <c:v>19.III.21</c:v>
                </c:pt>
                <c:pt idx="81">
                  <c:v>20.III.21</c:v>
                </c:pt>
                <c:pt idx="82">
                  <c:v>21.III.21</c:v>
                </c:pt>
                <c:pt idx="83">
                  <c:v>22.III.21</c:v>
                </c:pt>
                <c:pt idx="84">
                  <c:v>23.III.21</c:v>
                </c:pt>
                <c:pt idx="85">
                  <c:v>24.III.21</c:v>
                </c:pt>
                <c:pt idx="86">
                  <c:v>25.III.21</c:v>
                </c:pt>
                <c:pt idx="87">
                  <c:v>26.III.21</c:v>
                </c:pt>
                <c:pt idx="88">
                  <c:v>27.III.21</c:v>
                </c:pt>
                <c:pt idx="89">
                  <c:v>28.III.21</c:v>
                </c:pt>
                <c:pt idx="90">
                  <c:v>29.III.21</c:v>
                </c:pt>
                <c:pt idx="91">
                  <c:v>30.III.21</c:v>
                </c:pt>
                <c:pt idx="92">
                  <c:v>31.III.21</c:v>
                </c:pt>
                <c:pt idx="93">
                  <c:v>1.IV.21</c:v>
                </c:pt>
                <c:pt idx="94">
                  <c:v>2.IV.21</c:v>
                </c:pt>
                <c:pt idx="95">
                  <c:v>3.IV.21</c:v>
                </c:pt>
                <c:pt idx="96">
                  <c:v>4.IV.21</c:v>
                </c:pt>
                <c:pt idx="97">
                  <c:v>5.IV.21</c:v>
                </c:pt>
                <c:pt idx="98">
                  <c:v>6.IV.21</c:v>
                </c:pt>
                <c:pt idx="99">
                  <c:v>7.IV.21</c:v>
                </c:pt>
                <c:pt idx="100">
                  <c:v>8.IV.21</c:v>
                </c:pt>
                <c:pt idx="101">
                  <c:v>9.IV.21</c:v>
                </c:pt>
                <c:pt idx="102">
                  <c:v>10.IV.21</c:v>
                </c:pt>
                <c:pt idx="103">
                  <c:v>11.IV.21</c:v>
                </c:pt>
                <c:pt idx="104">
                  <c:v>12.IV.21</c:v>
                </c:pt>
                <c:pt idx="105">
                  <c:v>13.IV.21</c:v>
                </c:pt>
                <c:pt idx="106">
                  <c:v>14.IV.21</c:v>
                </c:pt>
                <c:pt idx="107">
                  <c:v>15.IV.21</c:v>
                </c:pt>
                <c:pt idx="108">
                  <c:v>16.IV.21</c:v>
                </c:pt>
                <c:pt idx="109">
                  <c:v>17.IV.21</c:v>
                </c:pt>
                <c:pt idx="110">
                  <c:v>18.IV.21</c:v>
                </c:pt>
                <c:pt idx="111">
                  <c:v>19.IV.21</c:v>
                </c:pt>
                <c:pt idx="112">
                  <c:v>20.IV.21</c:v>
                </c:pt>
                <c:pt idx="113">
                  <c:v>21.IV.21</c:v>
                </c:pt>
                <c:pt idx="114">
                  <c:v>22.IV.21</c:v>
                </c:pt>
                <c:pt idx="115">
                  <c:v>23.IV.21</c:v>
                </c:pt>
                <c:pt idx="116">
                  <c:v>24.IV.21</c:v>
                </c:pt>
                <c:pt idx="117">
                  <c:v>25.IV.21</c:v>
                </c:pt>
                <c:pt idx="118">
                  <c:v>26.IV.21</c:v>
                </c:pt>
                <c:pt idx="119">
                  <c:v>27.IV.21</c:v>
                </c:pt>
                <c:pt idx="120">
                  <c:v>28.IV.21</c:v>
                </c:pt>
                <c:pt idx="121">
                  <c:v>29.IV.21</c:v>
                </c:pt>
                <c:pt idx="122">
                  <c:v>30.IV.21</c:v>
                </c:pt>
                <c:pt idx="123">
                  <c:v>1.V.21</c:v>
                </c:pt>
                <c:pt idx="124">
                  <c:v>2.V.21</c:v>
                </c:pt>
                <c:pt idx="125">
                  <c:v>3.V.21</c:v>
                </c:pt>
                <c:pt idx="126">
                  <c:v>4.V.21</c:v>
                </c:pt>
                <c:pt idx="127">
                  <c:v>5.V.21</c:v>
                </c:pt>
                <c:pt idx="128">
                  <c:v>6.V.21</c:v>
                </c:pt>
                <c:pt idx="129">
                  <c:v>7.V.21</c:v>
                </c:pt>
                <c:pt idx="130">
                  <c:v>8.V.21</c:v>
                </c:pt>
                <c:pt idx="131">
                  <c:v>9.V.21</c:v>
                </c:pt>
                <c:pt idx="132">
                  <c:v>10.V.21</c:v>
                </c:pt>
                <c:pt idx="133">
                  <c:v>11.V.21</c:v>
                </c:pt>
                <c:pt idx="134">
                  <c:v>12.V.21</c:v>
                </c:pt>
                <c:pt idx="135">
                  <c:v>13.V.21</c:v>
                </c:pt>
                <c:pt idx="136">
                  <c:v>14.V.21</c:v>
                </c:pt>
                <c:pt idx="137">
                  <c:v>15.V.21</c:v>
                </c:pt>
                <c:pt idx="138">
                  <c:v>16.V.21</c:v>
                </c:pt>
                <c:pt idx="139">
                  <c:v>17.V.21</c:v>
                </c:pt>
                <c:pt idx="140">
                  <c:v>18.V.21</c:v>
                </c:pt>
                <c:pt idx="141">
                  <c:v>19.V.21</c:v>
                </c:pt>
                <c:pt idx="142">
                  <c:v>20.V.21</c:v>
                </c:pt>
                <c:pt idx="143">
                  <c:v>21.V.21</c:v>
                </c:pt>
                <c:pt idx="144">
                  <c:v>22.V.21</c:v>
                </c:pt>
                <c:pt idx="145">
                  <c:v>23.V.21</c:v>
                </c:pt>
                <c:pt idx="146">
                  <c:v>24.V.21</c:v>
                </c:pt>
                <c:pt idx="147">
                  <c:v>25.V.21</c:v>
                </c:pt>
                <c:pt idx="148">
                  <c:v>26.V.21</c:v>
                </c:pt>
                <c:pt idx="149">
                  <c:v>27.V.21</c:v>
                </c:pt>
                <c:pt idx="150">
                  <c:v>28.V.21</c:v>
                </c:pt>
                <c:pt idx="151">
                  <c:v>29.V.21</c:v>
                </c:pt>
                <c:pt idx="152">
                  <c:v>30.V.21</c:v>
                </c:pt>
                <c:pt idx="153">
                  <c:v>31.V.21</c:v>
                </c:pt>
                <c:pt idx="154">
                  <c:v>1.VI.21</c:v>
                </c:pt>
                <c:pt idx="155">
                  <c:v>2.VI.21</c:v>
                </c:pt>
                <c:pt idx="156">
                  <c:v>3.VI.21</c:v>
                </c:pt>
                <c:pt idx="157">
                  <c:v>4.VI.21</c:v>
                </c:pt>
                <c:pt idx="158">
                  <c:v>5.VI.21</c:v>
                </c:pt>
                <c:pt idx="159">
                  <c:v>6.VI.21</c:v>
                </c:pt>
                <c:pt idx="160">
                  <c:v>7.VI.21</c:v>
                </c:pt>
                <c:pt idx="161">
                  <c:v>8.VI.21</c:v>
                </c:pt>
                <c:pt idx="162">
                  <c:v>9.VI.21</c:v>
                </c:pt>
                <c:pt idx="163">
                  <c:v>10.VI.21</c:v>
                </c:pt>
                <c:pt idx="164">
                  <c:v>11.VI.21</c:v>
                </c:pt>
                <c:pt idx="165">
                  <c:v>12.VI.21</c:v>
                </c:pt>
                <c:pt idx="166">
                  <c:v>13.VI.21</c:v>
                </c:pt>
                <c:pt idx="167">
                  <c:v>14.VI.21</c:v>
                </c:pt>
                <c:pt idx="168">
                  <c:v>15.VI.21</c:v>
                </c:pt>
                <c:pt idx="169">
                  <c:v>16.VI.21</c:v>
                </c:pt>
                <c:pt idx="170">
                  <c:v>17.VI.21</c:v>
                </c:pt>
                <c:pt idx="171">
                  <c:v>18.VI.21</c:v>
                </c:pt>
                <c:pt idx="172">
                  <c:v>19.VI.21</c:v>
                </c:pt>
                <c:pt idx="173">
                  <c:v>20.VI.21</c:v>
                </c:pt>
                <c:pt idx="174">
                  <c:v>21.VI.21</c:v>
                </c:pt>
                <c:pt idx="175">
                  <c:v>22.VI.21</c:v>
                </c:pt>
                <c:pt idx="176">
                  <c:v>23.VI.21</c:v>
                </c:pt>
                <c:pt idx="177">
                  <c:v>24.VI.21</c:v>
                </c:pt>
                <c:pt idx="178">
                  <c:v>25.VI.21</c:v>
                </c:pt>
                <c:pt idx="179">
                  <c:v>26.VI.21</c:v>
                </c:pt>
                <c:pt idx="180">
                  <c:v>27.VI.21</c:v>
                </c:pt>
                <c:pt idx="181">
                  <c:v>28.VI.21</c:v>
                </c:pt>
                <c:pt idx="182">
                  <c:v>29.VI.21</c:v>
                </c:pt>
                <c:pt idx="183">
                  <c:v>30.VI.21</c:v>
                </c:pt>
                <c:pt idx="184">
                  <c:v>1.VII.21</c:v>
                </c:pt>
                <c:pt idx="185">
                  <c:v>2.VII.21</c:v>
                </c:pt>
                <c:pt idx="186">
                  <c:v>3.VII.21</c:v>
                </c:pt>
                <c:pt idx="187">
                  <c:v>4.VII.21</c:v>
                </c:pt>
                <c:pt idx="188">
                  <c:v>5.VII.21</c:v>
                </c:pt>
                <c:pt idx="189">
                  <c:v>6.VII.21</c:v>
                </c:pt>
                <c:pt idx="190">
                  <c:v>7.VII.21</c:v>
                </c:pt>
                <c:pt idx="191">
                  <c:v>8.VII.21</c:v>
                </c:pt>
                <c:pt idx="192">
                  <c:v>9.VII.21</c:v>
                </c:pt>
                <c:pt idx="193">
                  <c:v>10.VII.21</c:v>
                </c:pt>
                <c:pt idx="194">
                  <c:v>11.VII.21</c:v>
                </c:pt>
                <c:pt idx="195">
                  <c:v>12.VII.21</c:v>
                </c:pt>
                <c:pt idx="196">
                  <c:v>13.VII.21</c:v>
                </c:pt>
                <c:pt idx="197">
                  <c:v>14.VII.21</c:v>
                </c:pt>
                <c:pt idx="198">
                  <c:v>15.VII.21</c:v>
                </c:pt>
                <c:pt idx="199">
                  <c:v>16.VII.21</c:v>
                </c:pt>
                <c:pt idx="200">
                  <c:v>17.VII.21</c:v>
                </c:pt>
                <c:pt idx="201">
                  <c:v>18.VII.21</c:v>
                </c:pt>
                <c:pt idx="202">
                  <c:v>19.VII.21</c:v>
                </c:pt>
                <c:pt idx="203">
                  <c:v>20.VII.21</c:v>
                </c:pt>
                <c:pt idx="204">
                  <c:v>21.VII.21</c:v>
                </c:pt>
                <c:pt idx="205">
                  <c:v>22.VII.21</c:v>
                </c:pt>
                <c:pt idx="206">
                  <c:v>23.VII.21</c:v>
                </c:pt>
                <c:pt idx="207">
                  <c:v>24.VII.21</c:v>
                </c:pt>
                <c:pt idx="208">
                  <c:v>25.VII.21</c:v>
                </c:pt>
                <c:pt idx="209">
                  <c:v>26.VII.21</c:v>
                </c:pt>
                <c:pt idx="210">
                  <c:v>27.VII.21</c:v>
                </c:pt>
                <c:pt idx="211">
                  <c:v>28.VII.21</c:v>
                </c:pt>
                <c:pt idx="212">
                  <c:v>29.VII.21</c:v>
                </c:pt>
                <c:pt idx="213">
                  <c:v>30.VII.21</c:v>
                </c:pt>
                <c:pt idx="214">
                  <c:v>31.VII.21</c:v>
                </c:pt>
                <c:pt idx="215">
                  <c:v>1.VIII.21</c:v>
                </c:pt>
                <c:pt idx="216">
                  <c:v>2.VIII.21</c:v>
                </c:pt>
                <c:pt idx="217">
                  <c:v>3.VIII.21</c:v>
                </c:pt>
                <c:pt idx="218">
                  <c:v>4.VIII.21</c:v>
                </c:pt>
                <c:pt idx="219">
                  <c:v>5.VIII.21</c:v>
                </c:pt>
                <c:pt idx="220">
                  <c:v>6.VIII.21</c:v>
                </c:pt>
                <c:pt idx="221">
                  <c:v>7.VIII.21</c:v>
                </c:pt>
                <c:pt idx="222">
                  <c:v>8.VIII.21</c:v>
                </c:pt>
                <c:pt idx="223">
                  <c:v>9.VIII.21</c:v>
                </c:pt>
                <c:pt idx="224">
                  <c:v>10.VIII.21</c:v>
                </c:pt>
                <c:pt idx="225">
                  <c:v>11.VIII.21</c:v>
                </c:pt>
                <c:pt idx="226">
                  <c:v>12.VIII.21</c:v>
                </c:pt>
                <c:pt idx="227">
                  <c:v>13.VIII.21</c:v>
                </c:pt>
                <c:pt idx="228">
                  <c:v>14.VIII.21</c:v>
                </c:pt>
                <c:pt idx="229">
                  <c:v>15.VIII.21</c:v>
                </c:pt>
                <c:pt idx="230">
                  <c:v>16.VIII.21</c:v>
                </c:pt>
                <c:pt idx="231">
                  <c:v>17.VIII.21</c:v>
                </c:pt>
                <c:pt idx="232">
                  <c:v>18.VIII.21</c:v>
                </c:pt>
                <c:pt idx="233">
                  <c:v>19.VIII.21</c:v>
                </c:pt>
                <c:pt idx="234">
                  <c:v>20.VIII.21</c:v>
                </c:pt>
                <c:pt idx="235">
                  <c:v>21.VIII.21</c:v>
                </c:pt>
                <c:pt idx="236">
                  <c:v>22.VIII.21</c:v>
                </c:pt>
                <c:pt idx="237">
                  <c:v>23.VIII.21</c:v>
                </c:pt>
                <c:pt idx="238">
                  <c:v>24.VIII.21</c:v>
                </c:pt>
                <c:pt idx="239">
                  <c:v>25.VIII.21</c:v>
                </c:pt>
                <c:pt idx="240">
                  <c:v>26.VIII.21</c:v>
                </c:pt>
                <c:pt idx="241">
                  <c:v>27.VIII.21</c:v>
                </c:pt>
                <c:pt idx="242">
                  <c:v>28.VIII.21</c:v>
                </c:pt>
                <c:pt idx="243">
                  <c:v>29.VIII.21</c:v>
                </c:pt>
                <c:pt idx="244">
                  <c:v>30.VIII.21</c:v>
                </c:pt>
                <c:pt idx="245">
                  <c:v>31.VIII.21</c:v>
                </c:pt>
                <c:pt idx="246">
                  <c:v>1.IX.21</c:v>
                </c:pt>
                <c:pt idx="247">
                  <c:v>2.IX.21</c:v>
                </c:pt>
                <c:pt idx="248">
                  <c:v>3.IX.21</c:v>
                </c:pt>
                <c:pt idx="249">
                  <c:v>4.IX.21</c:v>
                </c:pt>
                <c:pt idx="250">
                  <c:v>5.IX.21</c:v>
                </c:pt>
                <c:pt idx="251">
                  <c:v>6.IX.21</c:v>
                </c:pt>
                <c:pt idx="252">
                  <c:v>7.IX.21</c:v>
                </c:pt>
                <c:pt idx="253">
                  <c:v>8.IX.21</c:v>
                </c:pt>
                <c:pt idx="254">
                  <c:v>9.IX.21</c:v>
                </c:pt>
                <c:pt idx="255">
                  <c:v>10.IX.21</c:v>
                </c:pt>
                <c:pt idx="256">
                  <c:v>11.IX.21</c:v>
                </c:pt>
                <c:pt idx="257">
                  <c:v>12.IX.21</c:v>
                </c:pt>
                <c:pt idx="258">
                  <c:v>13.IX.21</c:v>
                </c:pt>
                <c:pt idx="259">
                  <c:v>14.IX.21</c:v>
                </c:pt>
                <c:pt idx="260">
                  <c:v>15.IX.21</c:v>
                </c:pt>
                <c:pt idx="261">
                  <c:v>16.IX.21</c:v>
                </c:pt>
                <c:pt idx="262">
                  <c:v>17.IX.21</c:v>
                </c:pt>
                <c:pt idx="263">
                  <c:v>18.IX.21</c:v>
                </c:pt>
                <c:pt idx="264">
                  <c:v>19.IX.21</c:v>
                </c:pt>
                <c:pt idx="265">
                  <c:v>20.IX.21</c:v>
                </c:pt>
                <c:pt idx="266">
                  <c:v>21.IX.21</c:v>
                </c:pt>
                <c:pt idx="267">
                  <c:v>22.IX.21</c:v>
                </c:pt>
                <c:pt idx="268">
                  <c:v>23.IX.21</c:v>
                </c:pt>
                <c:pt idx="269">
                  <c:v>24.IX.21</c:v>
                </c:pt>
                <c:pt idx="270">
                  <c:v>25.IX.21</c:v>
                </c:pt>
                <c:pt idx="271">
                  <c:v>26.IX.21</c:v>
                </c:pt>
                <c:pt idx="272">
                  <c:v>27.IX.21</c:v>
                </c:pt>
                <c:pt idx="273">
                  <c:v>28.IX.21</c:v>
                </c:pt>
                <c:pt idx="274">
                  <c:v>29.IX.21</c:v>
                </c:pt>
                <c:pt idx="275">
                  <c:v>30.IX.21</c:v>
                </c:pt>
                <c:pt idx="276">
                  <c:v>1.X.21</c:v>
                </c:pt>
                <c:pt idx="277">
                  <c:v>2.X.21</c:v>
                </c:pt>
                <c:pt idx="278">
                  <c:v>3.X.21</c:v>
                </c:pt>
                <c:pt idx="279">
                  <c:v>4.X.21</c:v>
                </c:pt>
                <c:pt idx="280">
                  <c:v>5.X.21</c:v>
                </c:pt>
                <c:pt idx="281">
                  <c:v>6.X.21</c:v>
                </c:pt>
                <c:pt idx="282">
                  <c:v>7.X.21</c:v>
                </c:pt>
                <c:pt idx="283">
                  <c:v>8.X.21</c:v>
                </c:pt>
                <c:pt idx="284">
                  <c:v>9.X.21</c:v>
                </c:pt>
                <c:pt idx="285">
                  <c:v>10.X.21</c:v>
                </c:pt>
                <c:pt idx="286">
                  <c:v>11.X.21</c:v>
                </c:pt>
                <c:pt idx="287">
                  <c:v>12.X.21</c:v>
                </c:pt>
                <c:pt idx="288">
                  <c:v>13.X.21</c:v>
                </c:pt>
                <c:pt idx="289">
                  <c:v>14.X.21</c:v>
                </c:pt>
                <c:pt idx="290">
                  <c:v>15.X.21</c:v>
                </c:pt>
                <c:pt idx="291">
                  <c:v>16.X.21</c:v>
                </c:pt>
                <c:pt idx="292">
                  <c:v>17.X.21</c:v>
                </c:pt>
                <c:pt idx="293">
                  <c:v>18.X.21</c:v>
                </c:pt>
                <c:pt idx="294">
                  <c:v>19.X.21</c:v>
                </c:pt>
                <c:pt idx="295">
                  <c:v>20.X.21</c:v>
                </c:pt>
                <c:pt idx="296">
                  <c:v>21.X.21</c:v>
                </c:pt>
                <c:pt idx="297">
                  <c:v>22.X.21</c:v>
                </c:pt>
                <c:pt idx="298">
                  <c:v>23.X.21</c:v>
                </c:pt>
                <c:pt idx="299">
                  <c:v>24.X.21</c:v>
                </c:pt>
                <c:pt idx="300">
                  <c:v>25.X.21</c:v>
                </c:pt>
                <c:pt idx="301">
                  <c:v>26.X.21</c:v>
                </c:pt>
                <c:pt idx="302">
                  <c:v>27.X.21</c:v>
                </c:pt>
                <c:pt idx="303">
                  <c:v>28.X.21</c:v>
                </c:pt>
                <c:pt idx="304">
                  <c:v>29.X.21</c:v>
                </c:pt>
                <c:pt idx="305">
                  <c:v>30.X.21</c:v>
                </c:pt>
                <c:pt idx="306">
                  <c:v>31.X.21</c:v>
                </c:pt>
                <c:pt idx="307">
                  <c:v>1.XI.21</c:v>
                </c:pt>
                <c:pt idx="308">
                  <c:v>2.XI.21</c:v>
                </c:pt>
                <c:pt idx="309">
                  <c:v>3.XI.21</c:v>
                </c:pt>
                <c:pt idx="310">
                  <c:v>4.XI.21</c:v>
                </c:pt>
                <c:pt idx="311">
                  <c:v>5.XI.21</c:v>
                </c:pt>
                <c:pt idx="312">
                  <c:v>6.XI.21</c:v>
                </c:pt>
                <c:pt idx="313">
                  <c:v>7.XI.21</c:v>
                </c:pt>
                <c:pt idx="314">
                  <c:v>8.XI.21</c:v>
                </c:pt>
                <c:pt idx="315">
                  <c:v>9.XI.21</c:v>
                </c:pt>
                <c:pt idx="316">
                  <c:v>10.XI.21</c:v>
                </c:pt>
                <c:pt idx="317">
                  <c:v>11.XI.21</c:v>
                </c:pt>
                <c:pt idx="318">
                  <c:v>12.XI.21</c:v>
                </c:pt>
                <c:pt idx="319">
                  <c:v>13.XI.21</c:v>
                </c:pt>
                <c:pt idx="320">
                  <c:v>14.XI.21</c:v>
                </c:pt>
                <c:pt idx="321">
                  <c:v>15.XI.21</c:v>
                </c:pt>
                <c:pt idx="322">
                  <c:v>16.XI.21</c:v>
                </c:pt>
                <c:pt idx="323">
                  <c:v>17.XI.21</c:v>
                </c:pt>
                <c:pt idx="324">
                  <c:v>18.XI.21</c:v>
                </c:pt>
                <c:pt idx="325">
                  <c:v>19.XI.21</c:v>
                </c:pt>
                <c:pt idx="326">
                  <c:v>20.XI.21</c:v>
                </c:pt>
                <c:pt idx="327">
                  <c:v>21.XI.21</c:v>
                </c:pt>
                <c:pt idx="328">
                  <c:v>22.XI.21</c:v>
                </c:pt>
                <c:pt idx="329">
                  <c:v>23.XI.21</c:v>
                </c:pt>
                <c:pt idx="330">
                  <c:v>24.XI.21</c:v>
                </c:pt>
                <c:pt idx="331">
                  <c:v>25.XI.21</c:v>
                </c:pt>
                <c:pt idx="332">
                  <c:v>26.XI.21</c:v>
                </c:pt>
                <c:pt idx="333">
                  <c:v>27.XI.21</c:v>
                </c:pt>
                <c:pt idx="334">
                  <c:v>28.XI.21</c:v>
                </c:pt>
                <c:pt idx="335">
                  <c:v>29.XI.21</c:v>
                </c:pt>
                <c:pt idx="336">
                  <c:v>30.XI.21</c:v>
                </c:pt>
                <c:pt idx="337">
                  <c:v>1.XII.21</c:v>
                </c:pt>
                <c:pt idx="338">
                  <c:v>2.XII.21</c:v>
                </c:pt>
                <c:pt idx="339">
                  <c:v>3.XII.21</c:v>
                </c:pt>
                <c:pt idx="340">
                  <c:v>4.XII.21</c:v>
                </c:pt>
                <c:pt idx="341">
                  <c:v>5.XII.21</c:v>
                </c:pt>
                <c:pt idx="342">
                  <c:v>6.XII.21</c:v>
                </c:pt>
                <c:pt idx="343">
                  <c:v>7.XII.21</c:v>
                </c:pt>
                <c:pt idx="344">
                  <c:v>8.XII.21</c:v>
                </c:pt>
                <c:pt idx="345">
                  <c:v>9.XII.21</c:v>
                </c:pt>
                <c:pt idx="346">
                  <c:v>10.XII.21</c:v>
                </c:pt>
                <c:pt idx="347">
                  <c:v>11.XII.21</c:v>
                </c:pt>
                <c:pt idx="348">
                  <c:v>12.XII.21</c:v>
                </c:pt>
                <c:pt idx="349">
                  <c:v>13.XII.21</c:v>
                </c:pt>
                <c:pt idx="350">
                  <c:v>14.XII.21</c:v>
                </c:pt>
                <c:pt idx="351">
                  <c:v>15.XII.21</c:v>
                </c:pt>
                <c:pt idx="352">
                  <c:v>16.XII.21</c:v>
                </c:pt>
                <c:pt idx="353">
                  <c:v>17.XII.21</c:v>
                </c:pt>
                <c:pt idx="354">
                  <c:v>18.XII.21</c:v>
                </c:pt>
                <c:pt idx="355">
                  <c:v>19.XII.21</c:v>
                </c:pt>
                <c:pt idx="356">
                  <c:v>20.XII.21</c:v>
                </c:pt>
                <c:pt idx="357">
                  <c:v>21.XII.21</c:v>
                </c:pt>
                <c:pt idx="358">
                  <c:v>22.XII.21</c:v>
                </c:pt>
                <c:pt idx="359">
                  <c:v>23.XII.21</c:v>
                </c:pt>
                <c:pt idx="360">
                  <c:v>24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  <c:pt idx="372">
                  <c:v>8.I.22</c:v>
                </c:pt>
                <c:pt idx="373">
                  <c:v>9.I.22</c:v>
                </c:pt>
                <c:pt idx="374">
                  <c:v>10.I.22</c:v>
                </c:pt>
                <c:pt idx="375">
                  <c:v>11.I.22</c:v>
                </c:pt>
                <c:pt idx="376">
                  <c:v>12.I.22</c:v>
                </c:pt>
                <c:pt idx="377">
                  <c:v>13.I.22</c:v>
                </c:pt>
                <c:pt idx="378">
                  <c:v>14.I.22</c:v>
                </c:pt>
                <c:pt idx="379">
                  <c:v>15.I.22</c:v>
                </c:pt>
                <c:pt idx="380">
                  <c:v>16.I.22</c:v>
                </c:pt>
                <c:pt idx="381">
                  <c:v>17.I.22</c:v>
                </c:pt>
                <c:pt idx="382">
                  <c:v>18.I.22</c:v>
                </c:pt>
                <c:pt idx="383">
                  <c:v>19.I.22</c:v>
                </c:pt>
                <c:pt idx="384">
                  <c:v>20.I.22</c:v>
                </c:pt>
                <c:pt idx="385">
                  <c:v>21.I.22</c:v>
                </c:pt>
                <c:pt idx="386">
                  <c:v>22.I.22</c:v>
                </c:pt>
                <c:pt idx="387">
                  <c:v>23.I.22</c:v>
                </c:pt>
                <c:pt idx="388">
                  <c:v>24.I.22</c:v>
                </c:pt>
                <c:pt idx="389">
                  <c:v>25.I.22</c:v>
                </c:pt>
                <c:pt idx="390">
                  <c:v>26.I.22</c:v>
                </c:pt>
                <c:pt idx="391">
                  <c:v>27.I.22</c:v>
                </c:pt>
                <c:pt idx="392">
                  <c:v>28.I.22</c:v>
                </c:pt>
                <c:pt idx="393">
                  <c:v>29.I.22</c:v>
                </c:pt>
                <c:pt idx="394">
                  <c:v>30.I.22</c:v>
                </c:pt>
                <c:pt idx="395">
                  <c:v>31.I.22</c:v>
                </c:pt>
                <c:pt idx="396">
                  <c:v>1.II.22</c:v>
                </c:pt>
                <c:pt idx="397">
                  <c:v>2.II.22</c:v>
                </c:pt>
                <c:pt idx="398">
                  <c:v>3.II.22</c:v>
                </c:pt>
                <c:pt idx="399">
                  <c:v>4.II.22</c:v>
                </c:pt>
              </c:strCache>
            </c:strRef>
          </c:cat>
          <c:val>
            <c:numRef>
              <c:f>List1!$K$5:$OT$5</c:f>
              <c:numCache>
                <c:formatCode>General</c:formatCode>
                <c:ptCount val="400"/>
                <c:pt idx="0">
                  <c:v>2129</c:v>
                </c:pt>
                <c:pt idx="1">
                  <c:v>3072</c:v>
                </c:pt>
                <c:pt idx="2">
                  <c:v>3410</c:v>
                </c:pt>
                <c:pt idx="3">
                  <c:v>3499</c:v>
                </c:pt>
                <c:pt idx="4">
                  <c:v>3891</c:v>
                </c:pt>
                <c:pt idx="5">
                  <c:v>4204</c:v>
                </c:pt>
                <c:pt idx="6">
                  <c:v>5400</c:v>
                </c:pt>
                <c:pt idx="7">
                  <c:v>6711</c:v>
                </c:pt>
                <c:pt idx="8">
                  <c:v>8208</c:v>
                </c:pt>
                <c:pt idx="9">
                  <c:v>9884</c:v>
                </c:pt>
                <c:pt idx="10">
                  <c:v>11694</c:v>
                </c:pt>
                <c:pt idx="11">
                  <c:v>12103</c:v>
                </c:pt>
                <c:pt idx="12">
                  <c:v>12396</c:v>
                </c:pt>
                <c:pt idx="13">
                  <c:v>14143</c:v>
                </c:pt>
                <c:pt idx="14">
                  <c:v>16090</c:v>
                </c:pt>
                <c:pt idx="15">
                  <c:v>17794</c:v>
                </c:pt>
                <c:pt idx="16">
                  <c:v>19696</c:v>
                </c:pt>
                <c:pt idx="17">
                  <c:v>21499</c:v>
                </c:pt>
                <c:pt idx="18">
                  <c:v>21835</c:v>
                </c:pt>
                <c:pt idx="19">
                  <c:v>22060</c:v>
                </c:pt>
                <c:pt idx="20">
                  <c:v>23617</c:v>
                </c:pt>
                <c:pt idx="21">
                  <c:v>24796</c:v>
                </c:pt>
                <c:pt idx="22">
                  <c:v>25923</c:v>
                </c:pt>
                <c:pt idx="23">
                  <c:v>26923</c:v>
                </c:pt>
                <c:pt idx="24">
                  <c:v>27752</c:v>
                </c:pt>
                <c:pt idx="25">
                  <c:v>27921</c:v>
                </c:pt>
                <c:pt idx="26">
                  <c:v>28003</c:v>
                </c:pt>
                <c:pt idx="27">
                  <c:v>28514</c:v>
                </c:pt>
                <c:pt idx="28">
                  <c:v>29053</c:v>
                </c:pt>
                <c:pt idx="29">
                  <c:v>29452</c:v>
                </c:pt>
                <c:pt idx="30">
                  <c:v>29830</c:v>
                </c:pt>
                <c:pt idx="31">
                  <c:v>30162</c:v>
                </c:pt>
                <c:pt idx="32">
                  <c:v>30187</c:v>
                </c:pt>
                <c:pt idx="33">
                  <c:v>30208</c:v>
                </c:pt>
                <c:pt idx="34">
                  <c:v>30452</c:v>
                </c:pt>
                <c:pt idx="35">
                  <c:v>30688</c:v>
                </c:pt>
                <c:pt idx="36">
                  <c:v>30911</c:v>
                </c:pt>
                <c:pt idx="37">
                  <c:v>31106</c:v>
                </c:pt>
                <c:pt idx="38">
                  <c:v>31382</c:v>
                </c:pt>
                <c:pt idx="39">
                  <c:v>31402</c:v>
                </c:pt>
                <c:pt idx="40">
                  <c:v>31414</c:v>
                </c:pt>
                <c:pt idx="41">
                  <c:v>31550</c:v>
                </c:pt>
                <c:pt idx="42">
                  <c:v>31688</c:v>
                </c:pt>
                <c:pt idx="43">
                  <c:v>31883</c:v>
                </c:pt>
                <c:pt idx="44">
                  <c:v>32115</c:v>
                </c:pt>
                <c:pt idx="45">
                  <c:v>32393</c:v>
                </c:pt>
                <c:pt idx="46">
                  <c:v>32492</c:v>
                </c:pt>
                <c:pt idx="47">
                  <c:v>32556</c:v>
                </c:pt>
                <c:pt idx="48">
                  <c:v>32912</c:v>
                </c:pt>
                <c:pt idx="49">
                  <c:v>33210</c:v>
                </c:pt>
                <c:pt idx="50">
                  <c:v>33470</c:v>
                </c:pt>
                <c:pt idx="51">
                  <c:v>33808</c:v>
                </c:pt>
                <c:pt idx="52">
                  <c:v>34254</c:v>
                </c:pt>
                <c:pt idx="53">
                  <c:v>34360</c:v>
                </c:pt>
                <c:pt idx="54">
                  <c:v>34407</c:v>
                </c:pt>
                <c:pt idx="55">
                  <c:v>34718</c:v>
                </c:pt>
                <c:pt idx="56">
                  <c:v>35197</c:v>
                </c:pt>
                <c:pt idx="57">
                  <c:v>35795</c:v>
                </c:pt>
                <c:pt idx="58">
                  <c:v>36449</c:v>
                </c:pt>
                <c:pt idx="59">
                  <c:v>36992</c:v>
                </c:pt>
                <c:pt idx="60">
                  <c:v>37066</c:v>
                </c:pt>
                <c:pt idx="61">
                  <c:v>37109</c:v>
                </c:pt>
                <c:pt idx="62">
                  <c:v>37656</c:v>
                </c:pt>
                <c:pt idx="63">
                  <c:v>38252</c:v>
                </c:pt>
                <c:pt idx="64">
                  <c:v>38812</c:v>
                </c:pt>
                <c:pt idx="65">
                  <c:v>39356</c:v>
                </c:pt>
                <c:pt idx="66">
                  <c:v>39949</c:v>
                </c:pt>
                <c:pt idx="67">
                  <c:v>40116</c:v>
                </c:pt>
                <c:pt idx="68">
                  <c:v>40225</c:v>
                </c:pt>
                <c:pt idx="69">
                  <c:v>40551</c:v>
                </c:pt>
                <c:pt idx="70">
                  <c:v>40949</c:v>
                </c:pt>
                <c:pt idx="71">
                  <c:v>41352</c:v>
                </c:pt>
                <c:pt idx="72">
                  <c:v>41830</c:v>
                </c:pt>
                <c:pt idx="73">
                  <c:v>42235</c:v>
                </c:pt>
                <c:pt idx="74">
                  <c:v>42374</c:v>
                </c:pt>
                <c:pt idx="75">
                  <c:v>42459</c:v>
                </c:pt>
                <c:pt idx="76">
                  <c:v>42712</c:v>
                </c:pt>
                <c:pt idx="77">
                  <c:v>43074</c:v>
                </c:pt>
                <c:pt idx="78">
                  <c:v>43430</c:v>
                </c:pt>
                <c:pt idx="79">
                  <c:v>43785</c:v>
                </c:pt>
                <c:pt idx="80">
                  <c:v>44115</c:v>
                </c:pt>
                <c:pt idx="81">
                  <c:v>44230</c:v>
                </c:pt>
                <c:pt idx="82">
                  <c:v>44300</c:v>
                </c:pt>
                <c:pt idx="83">
                  <c:v>44473</c:v>
                </c:pt>
                <c:pt idx="84">
                  <c:v>44666</c:v>
                </c:pt>
                <c:pt idx="85">
                  <c:v>44813</c:v>
                </c:pt>
                <c:pt idx="86">
                  <c:v>45007</c:v>
                </c:pt>
                <c:pt idx="87">
                  <c:v>45226</c:v>
                </c:pt>
                <c:pt idx="88">
                  <c:v>45289</c:v>
                </c:pt>
                <c:pt idx="89">
                  <c:v>45330</c:v>
                </c:pt>
                <c:pt idx="90">
                  <c:v>45455</c:v>
                </c:pt>
                <c:pt idx="91">
                  <c:v>45615</c:v>
                </c:pt>
                <c:pt idx="92">
                  <c:v>45774</c:v>
                </c:pt>
                <c:pt idx="93">
                  <c:v>45994</c:v>
                </c:pt>
                <c:pt idx="94">
                  <c:v>46070</c:v>
                </c:pt>
                <c:pt idx="95">
                  <c:v>46090</c:v>
                </c:pt>
                <c:pt idx="96">
                  <c:v>46119</c:v>
                </c:pt>
                <c:pt idx="97">
                  <c:v>46126</c:v>
                </c:pt>
                <c:pt idx="98">
                  <c:v>46216</c:v>
                </c:pt>
                <c:pt idx="99">
                  <c:v>46310</c:v>
                </c:pt>
                <c:pt idx="100">
                  <c:v>46479</c:v>
                </c:pt>
                <c:pt idx="101">
                  <c:v>46679</c:v>
                </c:pt>
                <c:pt idx="102">
                  <c:v>46724</c:v>
                </c:pt>
                <c:pt idx="103">
                  <c:v>46757</c:v>
                </c:pt>
                <c:pt idx="104">
                  <c:v>46893</c:v>
                </c:pt>
                <c:pt idx="105">
                  <c:v>47015</c:v>
                </c:pt>
                <c:pt idx="106">
                  <c:v>47120</c:v>
                </c:pt>
                <c:pt idx="107">
                  <c:v>47277</c:v>
                </c:pt>
                <c:pt idx="108">
                  <c:v>47452</c:v>
                </c:pt>
                <c:pt idx="109">
                  <c:v>47493</c:v>
                </c:pt>
                <c:pt idx="110">
                  <c:v>47548</c:v>
                </c:pt>
                <c:pt idx="111">
                  <c:v>47675</c:v>
                </c:pt>
                <c:pt idx="112">
                  <c:v>47794</c:v>
                </c:pt>
                <c:pt idx="113">
                  <c:v>47928</c:v>
                </c:pt>
                <c:pt idx="114">
                  <c:v>48075</c:v>
                </c:pt>
                <c:pt idx="115">
                  <c:v>48232</c:v>
                </c:pt>
                <c:pt idx="116">
                  <c:v>48288</c:v>
                </c:pt>
                <c:pt idx="117">
                  <c:v>48323</c:v>
                </c:pt>
                <c:pt idx="118">
                  <c:v>48435</c:v>
                </c:pt>
                <c:pt idx="119">
                  <c:v>48556</c:v>
                </c:pt>
                <c:pt idx="120">
                  <c:v>48677</c:v>
                </c:pt>
                <c:pt idx="121">
                  <c:v>48810</c:v>
                </c:pt>
                <c:pt idx="122">
                  <c:v>48949</c:v>
                </c:pt>
                <c:pt idx="123">
                  <c:v>48978</c:v>
                </c:pt>
                <c:pt idx="124">
                  <c:v>49008</c:v>
                </c:pt>
                <c:pt idx="125">
                  <c:v>49129</c:v>
                </c:pt>
                <c:pt idx="126">
                  <c:v>49254</c:v>
                </c:pt>
                <c:pt idx="127">
                  <c:v>49351</c:v>
                </c:pt>
                <c:pt idx="128">
                  <c:v>49468</c:v>
                </c:pt>
                <c:pt idx="129">
                  <c:v>49641</c:v>
                </c:pt>
                <c:pt idx="130">
                  <c:v>49704</c:v>
                </c:pt>
                <c:pt idx="131">
                  <c:v>49736</c:v>
                </c:pt>
                <c:pt idx="132">
                  <c:v>49836</c:v>
                </c:pt>
                <c:pt idx="133">
                  <c:v>49953</c:v>
                </c:pt>
                <c:pt idx="134">
                  <c:v>50083</c:v>
                </c:pt>
                <c:pt idx="135">
                  <c:v>50243</c:v>
                </c:pt>
                <c:pt idx="136">
                  <c:v>50370</c:v>
                </c:pt>
                <c:pt idx="137">
                  <c:v>50441</c:v>
                </c:pt>
                <c:pt idx="138">
                  <c:v>50473</c:v>
                </c:pt>
                <c:pt idx="139">
                  <c:v>50555</c:v>
                </c:pt>
                <c:pt idx="140">
                  <c:v>50647</c:v>
                </c:pt>
                <c:pt idx="141">
                  <c:v>50732</c:v>
                </c:pt>
                <c:pt idx="142">
                  <c:v>50832</c:v>
                </c:pt>
                <c:pt idx="143">
                  <c:v>50939</c:v>
                </c:pt>
                <c:pt idx="144">
                  <c:v>50970</c:v>
                </c:pt>
                <c:pt idx="145">
                  <c:v>50985</c:v>
                </c:pt>
                <c:pt idx="146">
                  <c:v>51034</c:v>
                </c:pt>
                <c:pt idx="147">
                  <c:v>51094</c:v>
                </c:pt>
                <c:pt idx="148">
                  <c:v>51186</c:v>
                </c:pt>
                <c:pt idx="149">
                  <c:v>51268</c:v>
                </c:pt>
                <c:pt idx="150">
                  <c:v>51372</c:v>
                </c:pt>
                <c:pt idx="151">
                  <c:v>51409</c:v>
                </c:pt>
                <c:pt idx="152">
                  <c:v>51442</c:v>
                </c:pt>
                <c:pt idx="153">
                  <c:v>51517</c:v>
                </c:pt>
                <c:pt idx="154">
                  <c:v>51598</c:v>
                </c:pt>
                <c:pt idx="155">
                  <c:v>51692</c:v>
                </c:pt>
                <c:pt idx="156">
                  <c:v>51762</c:v>
                </c:pt>
                <c:pt idx="157">
                  <c:v>51860</c:v>
                </c:pt>
                <c:pt idx="158">
                  <c:v>51887</c:v>
                </c:pt>
                <c:pt idx="159">
                  <c:v>51920</c:v>
                </c:pt>
                <c:pt idx="160">
                  <c:v>52001</c:v>
                </c:pt>
                <c:pt idx="161">
                  <c:v>52099</c:v>
                </c:pt>
                <c:pt idx="162">
                  <c:v>52184</c:v>
                </c:pt>
                <c:pt idx="163">
                  <c:v>52269</c:v>
                </c:pt>
                <c:pt idx="164">
                  <c:v>52363</c:v>
                </c:pt>
                <c:pt idx="165">
                  <c:v>52392</c:v>
                </c:pt>
                <c:pt idx="166">
                  <c:v>52422</c:v>
                </c:pt>
                <c:pt idx="167">
                  <c:v>52492</c:v>
                </c:pt>
                <c:pt idx="168">
                  <c:v>52547</c:v>
                </c:pt>
                <c:pt idx="169">
                  <c:v>52622</c:v>
                </c:pt>
                <c:pt idx="170">
                  <c:v>52701</c:v>
                </c:pt>
                <c:pt idx="171">
                  <c:v>52779</c:v>
                </c:pt>
                <c:pt idx="172">
                  <c:v>52807</c:v>
                </c:pt>
                <c:pt idx="173">
                  <c:v>52832</c:v>
                </c:pt>
                <c:pt idx="174">
                  <c:v>52871</c:v>
                </c:pt>
                <c:pt idx="175">
                  <c:v>52921</c:v>
                </c:pt>
                <c:pt idx="176">
                  <c:v>52976</c:v>
                </c:pt>
                <c:pt idx="177">
                  <c:v>53028</c:v>
                </c:pt>
                <c:pt idx="178">
                  <c:v>53085</c:v>
                </c:pt>
                <c:pt idx="179">
                  <c:v>53099</c:v>
                </c:pt>
                <c:pt idx="180">
                  <c:v>53111</c:v>
                </c:pt>
                <c:pt idx="181">
                  <c:v>53155</c:v>
                </c:pt>
                <c:pt idx="182">
                  <c:v>53201</c:v>
                </c:pt>
                <c:pt idx="183">
                  <c:v>53259</c:v>
                </c:pt>
                <c:pt idx="184">
                  <c:v>53304</c:v>
                </c:pt>
                <c:pt idx="185">
                  <c:v>53359</c:v>
                </c:pt>
                <c:pt idx="186">
                  <c:v>53371</c:v>
                </c:pt>
                <c:pt idx="187">
                  <c:v>53383</c:v>
                </c:pt>
                <c:pt idx="188">
                  <c:v>53389</c:v>
                </c:pt>
                <c:pt idx="189">
                  <c:v>53398</c:v>
                </c:pt>
                <c:pt idx="190">
                  <c:v>53438</c:v>
                </c:pt>
                <c:pt idx="191">
                  <c:v>53493</c:v>
                </c:pt>
                <c:pt idx="192">
                  <c:v>53541</c:v>
                </c:pt>
                <c:pt idx="193">
                  <c:v>53556</c:v>
                </c:pt>
                <c:pt idx="194">
                  <c:v>53570</c:v>
                </c:pt>
                <c:pt idx="195">
                  <c:v>53618</c:v>
                </c:pt>
                <c:pt idx="196">
                  <c:v>53661</c:v>
                </c:pt>
                <c:pt idx="197">
                  <c:v>53707</c:v>
                </c:pt>
                <c:pt idx="198">
                  <c:v>53767</c:v>
                </c:pt>
                <c:pt idx="199">
                  <c:v>53822</c:v>
                </c:pt>
                <c:pt idx="200">
                  <c:v>53844</c:v>
                </c:pt>
                <c:pt idx="201">
                  <c:v>53863</c:v>
                </c:pt>
                <c:pt idx="202">
                  <c:v>53912</c:v>
                </c:pt>
                <c:pt idx="203">
                  <c:v>53958</c:v>
                </c:pt>
                <c:pt idx="204">
                  <c:v>54027</c:v>
                </c:pt>
                <c:pt idx="205">
                  <c:v>54065</c:v>
                </c:pt>
                <c:pt idx="206">
                  <c:v>54098</c:v>
                </c:pt>
                <c:pt idx="207">
                  <c:v>54104</c:v>
                </c:pt>
                <c:pt idx="208">
                  <c:v>54113</c:v>
                </c:pt>
                <c:pt idx="209">
                  <c:v>54153</c:v>
                </c:pt>
                <c:pt idx="210">
                  <c:v>54206</c:v>
                </c:pt>
                <c:pt idx="211">
                  <c:v>54241</c:v>
                </c:pt>
                <c:pt idx="212">
                  <c:v>54269</c:v>
                </c:pt>
                <c:pt idx="213">
                  <c:v>54314</c:v>
                </c:pt>
                <c:pt idx="214">
                  <c:v>54331</c:v>
                </c:pt>
                <c:pt idx="215">
                  <c:v>54344</c:v>
                </c:pt>
                <c:pt idx="216">
                  <c:v>54381</c:v>
                </c:pt>
                <c:pt idx="217">
                  <c:v>54407</c:v>
                </c:pt>
                <c:pt idx="218">
                  <c:v>54447</c:v>
                </c:pt>
                <c:pt idx="219">
                  <c:v>54478</c:v>
                </c:pt>
                <c:pt idx="220">
                  <c:v>54511</c:v>
                </c:pt>
                <c:pt idx="221">
                  <c:v>54524</c:v>
                </c:pt>
                <c:pt idx="222">
                  <c:v>54529</c:v>
                </c:pt>
                <c:pt idx="223">
                  <c:v>54551</c:v>
                </c:pt>
                <c:pt idx="224">
                  <c:v>54566</c:v>
                </c:pt>
                <c:pt idx="225">
                  <c:v>54586</c:v>
                </c:pt>
                <c:pt idx="226">
                  <c:v>54609</c:v>
                </c:pt>
                <c:pt idx="227">
                  <c:v>54634</c:v>
                </c:pt>
                <c:pt idx="228">
                  <c:v>54644</c:v>
                </c:pt>
                <c:pt idx="229">
                  <c:v>54649</c:v>
                </c:pt>
                <c:pt idx="230">
                  <c:v>54666</c:v>
                </c:pt>
                <c:pt idx="231">
                  <c:v>54690</c:v>
                </c:pt>
                <c:pt idx="232">
                  <c:v>54713</c:v>
                </c:pt>
                <c:pt idx="233">
                  <c:v>54735</c:v>
                </c:pt>
                <c:pt idx="234">
                  <c:v>54768</c:v>
                </c:pt>
                <c:pt idx="235">
                  <c:v>54778</c:v>
                </c:pt>
                <c:pt idx="236">
                  <c:v>54781</c:v>
                </c:pt>
                <c:pt idx="237">
                  <c:v>54793</c:v>
                </c:pt>
                <c:pt idx="238">
                  <c:v>54821</c:v>
                </c:pt>
                <c:pt idx="239">
                  <c:v>54845</c:v>
                </c:pt>
                <c:pt idx="240">
                  <c:v>54872</c:v>
                </c:pt>
                <c:pt idx="241">
                  <c:v>54900</c:v>
                </c:pt>
                <c:pt idx="242">
                  <c:v>54902</c:v>
                </c:pt>
                <c:pt idx="243">
                  <c:v>54909</c:v>
                </c:pt>
                <c:pt idx="244">
                  <c:v>54931</c:v>
                </c:pt>
                <c:pt idx="245">
                  <c:v>54956</c:v>
                </c:pt>
                <c:pt idx="246">
                  <c:v>54976</c:v>
                </c:pt>
                <c:pt idx="247">
                  <c:v>55004</c:v>
                </c:pt>
                <c:pt idx="248">
                  <c:v>55030</c:v>
                </c:pt>
                <c:pt idx="249">
                  <c:v>55038</c:v>
                </c:pt>
                <c:pt idx="250">
                  <c:v>55043</c:v>
                </c:pt>
                <c:pt idx="251">
                  <c:v>55056</c:v>
                </c:pt>
                <c:pt idx="252">
                  <c:v>55069</c:v>
                </c:pt>
                <c:pt idx="253">
                  <c:v>55089</c:v>
                </c:pt>
                <c:pt idx="254">
                  <c:v>55117</c:v>
                </c:pt>
                <c:pt idx="255">
                  <c:v>55142</c:v>
                </c:pt>
                <c:pt idx="256">
                  <c:v>55144</c:v>
                </c:pt>
                <c:pt idx="257">
                  <c:v>55147</c:v>
                </c:pt>
                <c:pt idx="258">
                  <c:v>55166</c:v>
                </c:pt>
                <c:pt idx="259">
                  <c:v>55184</c:v>
                </c:pt>
                <c:pt idx="260">
                  <c:v>55199</c:v>
                </c:pt>
                <c:pt idx="261">
                  <c:v>55217</c:v>
                </c:pt>
                <c:pt idx="262">
                  <c:v>55242</c:v>
                </c:pt>
                <c:pt idx="263">
                  <c:v>55247</c:v>
                </c:pt>
                <c:pt idx="264">
                  <c:v>55247</c:v>
                </c:pt>
                <c:pt idx="265">
                  <c:v>55267</c:v>
                </c:pt>
                <c:pt idx="266">
                  <c:v>55275</c:v>
                </c:pt>
                <c:pt idx="267">
                  <c:v>55286</c:v>
                </c:pt>
                <c:pt idx="268">
                  <c:v>55310</c:v>
                </c:pt>
                <c:pt idx="269">
                  <c:v>55335</c:v>
                </c:pt>
                <c:pt idx="270">
                  <c:v>55341</c:v>
                </c:pt>
                <c:pt idx="271">
                  <c:v>55341</c:v>
                </c:pt>
                <c:pt idx="272">
                  <c:v>55353</c:v>
                </c:pt>
                <c:pt idx="273">
                  <c:v>55353</c:v>
                </c:pt>
                <c:pt idx="274">
                  <c:v>55370</c:v>
                </c:pt>
                <c:pt idx="275">
                  <c:v>55385</c:v>
                </c:pt>
                <c:pt idx="276">
                  <c:v>55405</c:v>
                </c:pt>
                <c:pt idx="277">
                  <c:v>55411</c:v>
                </c:pt>
                <c:pt idx="278">
                  <c:v>55411</c:v>
                </c:pt>
                <c:pt idx="279">
                  <c:v>55421</c:v>
                </c:pt>
                <c:pt idx="280">
                  <c:v>55428</c:v>
                </c:pt>
                <c:pt idx="281">
                  <c:v>55440</c:v>
                </c:pt>
                <c:pt idx="282">
                  <c:v>55458</c:v>
                </c:pt>
                <c:pt idx="283">
                  <c:v>55472</c:v>
                </c:pt>
                <c:pt idx="284">
                  <c:v>55478</c:v>
                </c:pt>
                <c:pt idx="285">
                  <c:v>55478</c:v>
                </c:pt>
                <c:pt idx="286">
                  <c:v>55497</c:v>
                </c:pt>
                <c:pt idx="287">
                  <c:v>55515</c:v>
                </c:pt>
                <c:pt idx="288">
                  <c:v>55522</c:v>
                </c:pt>
                <c:pt idx="289">
                  <c:v>55532</c:v>
                </c:pt>
                <c:pt idx="290">
                  <c:v>55549</c:v>
                </c:pt>
                <c:pt idx="291">
                  <c:v>55551</c:v>
                </c:pt>
                <c:pt idx="292">
                  <c:v>55553</c:v>
                </c:pt>
                <c:pt idx="293">
                  <c:v>55574</c:v>
                </c:pt>
                <c:pt idx="294">
                  <c:v>55581</c:v>
                </c:pt>
                <c:pt idx="295">
                  <c:v>55595</c:v>
                </c:pt>
                <c:pt idx="296">
                  <c:v>55620</c:v>
                </c:pt>
                <c:pt idx="297">
                  <c:v>55659</c:v>
                </c:pt>
                <c:pt idx="298">
                  <c:v>55666</c:v>
                </c:pt>
                <c:pt idx="299">
                  <c:v>55672</c:v>
                </c:pt>
                <c:pt idx="300">
                  <c:v>55693</c:v>
                </c:pt>
                <c:pt idx="301">
                  <c:v>55730</c:v>
                </c:pt>
                <c:pt idx="302">
                  <c:v>55777</c:v>
                </c:pt>
                <c:pt idx="303">
                  <c:v>55784</c:v>
                </c:pt>
                <c:pt idx="304">
                  <c:v>55818</c:v>
                </c:pt>
                <c:pt idx="305">
                  <c:v>55830</c:v>
                </c:pt>
                <c:pt idx="306">
                  <c:v>55833</c:v>
                </c:pt>
                <c:pt idx="307">
                  <c:v>55877</c:v>
                </c:pt>
                <c:pt idx="308">
                  <c:v>55917</c:v>
                </c:pt>
                <c:pt idx="309">
                  <c:v>55952</c:v>
                </c:pt>
                <c:pt idx="310">
                  <c:v>56011</c:v>
                </c:pt>
                <c:pt idx="311">
                  <c:v>56074</c:v>
                </c:pt>
                <c:pt idx="312">
                  <c:v>56098</c:v>
                </c:pt>
                <c:pt idx="313">
                  <c:v>56113</c:v>
                </c:pt>
                <c:pt idx="314">
                  <c:v>56143</c:v>
                </c:pt>
                <c:pt idx="315">
                  <c:v>56178</c:v>
                </c:pt>
                <c:pt idx="316">
                  <c:v>56211</c:v>
                </c:pt>
                <c:pt idx="317">
                  <c:v>56245</c:v>
                </c:pt>
                <c:pt idx="318">
                  <c:v>56309</c:v>
                </c:pt>
                <c:pt idx="319">
                  <c:v>56320</c:v>
                </c:pt>
                <c:pt idx="320">
                  <c:v>56329</c:v>
                </c:pt>
                <c:pt idx="321">
                  <c:v>56376</c:v>
                </c:pt>
                <c:pt idx="322">
                  <c:v>56432</c:v>
                </c:pt>
                <c:pt idx="323">
                  <c:v>56447</c:v>
                </c:pt>
                <c:pt idx="324">
                  <c:v>56492</c:v>
                </c:pt>
                <c:pt idx="325">
                  <c:v>56559</c:v>
                </c:pt>
                <c:pt idx="326">
                  <c:v>56585</c:v>
                </c:pt>
                <c:pt idx="327">
                  <c:v>56596</c:v>
                </c:pt>
                <c:pt idx="328">
                  <c:v>56644</c:v>
                </c:pt>
                <c:pt idx="329">
                  <c:v>56693</c:v>
                </c:pt>
                <c:pt idx="330">
                  <c:v>56729</c:v>
                </c:pt>
                <c:pt idx="331">
                  <c:v>56780</c:v>
                </c:pt>
                <c:pt idx="332">
                  <c:v>56841</c:v>
                </c:pt>
                <c:pt idx="333">
                  <c:v>56851</c:v>
                </c:pt>
                <c:pt idx="334">
                  <c:v>56856</c:v>
                </c:pt>
                <c:pt idx="335">
                  <c:v>56886</c:v>
                </c:pt>
                <c:pt idx="336">
                  <c:v>56914</c:v>
                </c:pt>
                <c:pt idx="337">
                  <c:v>56948</c:v>
                </c:pt>
                <c:pt idx="338">
                  <c:v>56974</c:v>
                </c:pt>
                <c:pt idx="339">
                  <c:v>57005</c:v>
                </c:pt>
                <c:pt idx="340">
                  <c:v>57009</c:v>
                </c:pt>
                <c:pt idx="341">
                  <c:v>57011</c:v>
                </c:pt>
                <c:pt idx="342">
                  <c:v>57031</c:v>
                </c:pt>
                <c:pt idx="343">
                  <c:v>57049</c:v>
                </c:pt>
                <c:pt idx="344">
                  <c:v>57073</c:v>
                </c:pt>
                <c:pt idx="345">
                  <c:v>57092</c:v>
                </c:pt>
                <c:pt idx="346">
                  <c:v>57111</c:v>
                </c:pt>
                <c:pt idx="347">
                  <c:v>57115</c:v>
                </c:pt>
                <c:pt idx="348">
                  <c:v>57117</c:v>
                </c:pt>
                <c:pt idx="349">
                  <c:v>57130</c:v>
                </c:pt>
                <c:pt idx="350">
                  <c:v>57141</c:v>
                </c:pt>
                <c:pt idx="351">
                  <c:v>57153</c:v>
                </c:pt>
                <c:pt idx="352">
                  <c:v>57170</c:v>
                </c:pt>
                <c:pt idx="353">
                  <c:v>57187</c:v>
                </c:pt>
                <c:pt idx="354">
                  <c:v>57191</c:v>
                </c:pt>
                <c:pt idx="355">
                  <c:v>57193</c:v>
                </c:pt>
                <c:pt idx="356">
                  <c:v>57202</c:v>
                </c:pt>
                <c:pt idx="357">
                  <c:v>57210</c:v>
                </c:pt>
                <c:pt idx="358">
                  <c:v>57223</c:v>
                </c:pt>
                <c:pt idx="359">
                  <c:v>57225</c:v>
                </c:pt>
                <c:pt idx="360">
                  <c:v>57226</c:v>
                </c:pt>
                <c:pt idx="361">
                  <c:v>57233</c:v>
                </c:pt>
                <c:pt idx="362">
                  <c:v>57238</c:v>
                </c:pt>
                <c:pt idx="363">
                  <c:v>57241</c:v>
                </c:pt>
                <c:pt idx="364">
                  <c:v>57247</c:v>
                </c:pt>
                <c:pt idx="365">
                  <c:v>57249</c:v>
                </c:pt>
                <c:pt idx="366">
                  <c:v>57250</c:v>
                </c:pt>
                <c:pt idx="367">
                  <c:v>57255</c:v>
                </c:pt>
                <c:pt idx="368">
                  <c:v>57260</c:v>
                </c:pt>
                <c:pt idx="369">
                  <c:v>57270</c:v>
                </c:pt>
                <c:pt idx="370">
                  <c:v>57280</c:v>
                </c:pt>
                <c:pt idx="371">
                  <c:v>57295</c:v>
                </c:pt>
                <c:pt idx="372">
                  <c:v>57298</c:v>
                </c:pt>
                <c:pt idx="373">
                  <c:v>57299</c:v>
                </c:pt>
                <c:pt idx="374">
                  <c:v>57307</c:v>
                </c:pt>
                <c:pt idx="375">
                  <c:v>57313</c:v>
                </c:pt>
                <c:pt idx="376">
                  <c:v>57325</c:v>
                </c:pt>
                <c:pt idx="377">
                  <c:v>57336</c:v>
                </c:pt>
                <c:pt idx="378">
                  <c:v>57348</c:v>
                </c:pt>
                <c:pt idx="379">
                  <c:v>57351</c:v>
                </c:pt>
                <c:pt idx="380">
                  <c:v>57351</c:v>
                </c:pt>
                <c:pt idx="381">
                  <c:v>57360</c:v>
                </c:pt>
                <c:pt idx="382">
                  <c:v>57367</c:v>
                </c:pt>
                <c:pt idx="383">
                  <c:v>57370</c:v>
                </c:pt>
                <c:pt idx="384">
                  <c:v>57377</c:v>
                </c:pt>
                <c:pt idx="385">
                  <c:v>57386</c:v>
                </c:pt>
                <c:pt idx="386">
                  <c:v>57387</c:v>
                </c:pt>
                <c:pt idx="387">
                  <c:v>57387</c:v>
                </c:pt>
                <c:pt idx="388">
                  <c:v>57391</c:v>
                </c:pt>
                <c:pt idx="389">
                  <c:v>57396</c:v>
                </c:pt>
                <c:pt idx="390">
                  <c:v>57402</c:v>
                </c:pt>
                <c:pt idx="391">
                  <c:v>57404</c:v>
                </c:pt>
                <c:pt idx="392">
                  <c:v>57411</c:v>
                </c:pt>
                <c:pt idx="393">
                  <c:v>57412</c:v>
                </c:pt>
                <c:pt idx="394">
                  <c:v>57412</c:v>
                </c:pt>
                <c:pt idx="395">
                  <c:v>57417</c:v>
                </c:pt>
                <c:pt idx="396">
                  <c:v>57419</c:v>
                </c:pt>
                <c:pt idx="397">
                  <c:v>57423</c:v>
                </c:pt>
                <c:pt idx="398">
                  <c:v>57425</c:v>
                </c:pt>
                <c:pt idx="399">
                  <c:v>574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3F-421B-A24A-264CC3DD701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87-4B41-A7BA-23E0663C99C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87-4B41-A7BA-23E0663C99C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3F-421B-A24A-264CC3DD701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87-4B41-A7BA-23E0663C99C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3F-421B-A24A-264CC3DD701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87-4B41-A7BA-23E0663C99C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62</c:f>
              <c:numCache>
                <c:formatCode>m/d/yyyy</c:formatCode>
                <c:ptCount val="228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  <c:pt idx="200">
                  <c:v>44569</c:v>
                </c:pt>
                <c:pt idx="201">
                  <c:v>44570</c:v>
                </c:pt>
                <c:pt idx="202">
                  <c:v>44571</c:v>
                </c:pt>
                <c:pt idx="203">
                  <c:v>44572</c:v>
                </c:pt>
                <c:pt idx="204">
                  <c:v>44573</c:v>
                </c:pt>
                <c:pt idx="205">
                  <c:v>44574</c:v>
                </c:pt>
                <c:pt idx="206">
                  <c:v>44575</c:v>
                </c:pt>
                <c:pt idx="207">
                  <c:v>44576</c:v>
                </c:pt>
                <c:pt idx="208">
                  <c:v>44577</c:v>
                </c:pt>
                <c:pt idx="209">
                  <c:v>44578</c:v>
                </c:pt>
                <c:pt idx="210">
                  <c:v>44579</c:v>
                </c:pt>
                <c:pt idx="211">
                  <c:v>44580</c:v>
                </c:pt>
                <c:pt idx="212">
                  <c:v>44581</c:v>
                </c:pt>
                <c:pt idx="213">
                  <c:v>44582</c:v>
                </c:pt>
                <c:pt idx="214">
                  <c:v>44583</c:v>
                </c:pt>
                <c:pt idx="215">
                  <c:v>44584</c:v>
                </c:pt>
                <c:pt idx="216">
                  <c:v>44585</c:v>
                </c:pt>
                <c:pt idx="217">
                  <c:v>44586</c:v>
                </c:pt>
                <c:pt idx="218">
                  <c:v>44587</c:v>
                </c:pt>
                <c:pt idx="219">
                  <c:v>44588</c:v>
                </c:pt>
                <c:pt idx="220">
                  <c:v>44589</c:v>
                </c:pt>
                <c:pt idx="221">
                  <c:v>44590</c:v>
                </c:pt>
                <c:pt idx="222">
                  <c:v>44591</c:v>
                </c:pt>
                <c:pt idx="223">
                  <c:v>44592</c:v>
                </c:pt>
                <c:pt idx="224">
                  <c:v>44593</c:v>
                </c:pt>
                <c:pt idx="225">
                  <c:v>44594</c:v>
                </c:pt>
                <c:pt idx="226">
                  <c:v>44595</c:v>
                </c:pt>
                <c:pt idx="227">
                  <c:v>44596</c:v>
                </c:pt>
              </c:numCache>
            </c:numRef>
          </c:cat>
          <c:val>
            <c:numRef>
              <c:f>Sheet1!$B$135:$B$362</c:f>
              <c:numCache>
                <c:formatCode>General</c:formatCode>
                <c:ptCount val="228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</c:v>
                </c:pt>
                <c:pt idx="19">
                  <c:v>0</c:v>
                </c:pt>
                <c:pt idx="20">
                  <c:v>2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3</c:v>
                </c:pt>
                <c:pt idx="25">
                  <c:v>2</c:v>
                </c:pt>
                <c:pt idx="26">
                  <c:v>1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4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2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7</c:v>
                </c:pt>
                <c:pt idx="44">
                  <c:v>1</c:v>
                </c:pt>
                <c:pt idx="45">
                  <c:v>2</c:v>
                </c:pt>
                <c:pt idx="46">
                  <c:v>0</c:v>
                </c:pt>
                <c:pt idx="47">
                  <c:v>3</c:v>
                </c:pt>
                <c:pt idx="48">
                  <c:v>2</c:v>
                </c:pt>
                <c:pt idx="49">
                  <c:v>0</c:v>
                </c:pt>
                <c:pt idx="50">
                  <c:v>4</c:v>
                </c:pt>
                <c:pt idx="51">
                  <c:v>1</c:v>
                </c:pt>
                <c:pt idx="52">
                  <c:v>1</c:v>
                </c:pt>
                <c:pt idx="53">
                  <c:v>0</c:v>
                </c:pt>
                <c:pt idx="54">
                  <c:v>0</c:v>
                </c:pt>
                <c:pt idx="55">
                  <c:v>3</c:v>
                </c:pt>
                <c:pt idx="56">
                  <c:v>0</c:v>
                </c:pt>
                <c:pt idx="57">
                  <c:v>0</c:v>
                </c:pt>
                <c:pt idx="58">
                  <c:v>2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2</c:v>
                </c:pt>
                <c:pt idx="63">
                  <c:v>0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4</c:v>
                </c:pt>
                <c:pt idx="71">
                  <c:v>4</c:v>
                </c:pt>
                <c:pt idx="72">
                  <c:v>1</c:v>
                </c:pt>
                <c:pt idx="73">
                  <c:v>1</c:v>
                </c:pt>
                <c:pt idx="74">
                  <c:v>3</c:v>
                </c:pt>
                <c:pt idx="75">
                  <c:v>1</c:v>
                </c:pt>
                <c:pt idx="76">
                  <c:v>0</c:v>
                </c:pt>
                <c:pt idx="77">
                  <c:v>2</c:v>
                </c:pt>
                <c:pt idx="78">
                  <c:v>0</c:v>
                </c:pt>
                <c:pt idx="79">
                  <c:v>0</c:v>
                </c:pt>
                <c:pt idx="80">
                  <c:v>3</c:v>
                </c:pt>
                <c:pt idx="81">
                  <c:v>3</c:v>
                </c:pt>
                <c:pt idx="82">
                  <c:v>0</c:v>
                </c:pt>
                <c:pt idx="83">
                  <c:v>4</c:v>
                </c:pt>
                <c:pt idx="84">
                  <c:v>2</c:v>
                </c:pt>
                <c:pt idx="85">
                  <c:v>0</c:v>
                </c:pt>
                <c:pt idx="86">
                  <c:v>1</c:v>
                </c:pt>
                <c:pt idx="87">
                  <c:v>2</c:v>
                </c:pt>
                <c:pt idx="88">
                  <c:v>1</c:v>
                </c:pt>
                <c:pt idx="89">
                  <c:v>1</c:v>
                </c:pt>
                <c:pt idx="90">
                  <c:v>0</c:v>
                </c:pt>
                <c:pt idx="91">
                  <c:v>3</c:v>
                </c:pt>
                <c:pt idx="92">
                  <c:v>3</c:v>
                </c:pt>
                <c:pt idx="93">
                  <c:v>2</c:v>
                </c:pt>
                <c:pt idx="94">
                  <c:v>3</c:v>
                </c:pt>
                <c:pt idx="95">
                  <c:v>0</c:v>
                </c:pt>
                <c:pt idx="96">
                  <c:v>2</c:v>
                </c:pt>
                <c:pt idx="97">
                  <c:v>6</c:v>
                </c:pt>
                <c:pt idx="98">
                  <c:v>4</c:v>
                </c:pt>
                <c:pt idx="99">
                  <c:v>3</c:v>
                </c:pt>
                <c:pt idx="100">
                  <c:v>9</c:v>
                </c:pt>
                <c:pt idx="101">
                  <c:v>2</c:v>
                </c:pt>
                <c:pt idx="102">
                  <c:v>5</c:v>
                </c:pt>
                <c:pt idx="103">
                  <c:v>1</c:v>
                </c:pt>
                <c:pt idx="104">
                  <c:v>0</c:v>
                </c:pt>
                <c:pt idx="105">
                  <c:v>2</c:v>
                </c:pt>
                <c:pt idx="106">
                  <c:v>5</c:v>
                </c:pt>
                <c:pt idx="107">
                  <c:v>6</c:v>
                </c:pt>
                <c:pt idx="108">
                  <c:v>6</c:v>
                </c:pt>
                <c:pt idx="109">
                  <c:v>1</c:v>
                </c:pt>
                <c:pt idx="110">
                  <c:v>1</c:v>
                </c:pt>
                <c:pt idx="111">
                  <c:v>3</c:v>
                </c:pt>
                <c:pt idx="112">
                  <c:v>10</c:v>
                </c:pt>
                <c:pt idx="113">
                  <c:v>7</c:v>
                </c:pt>
                <c:pt idx="114">
                  <c:v>7</c:v>
                </c:pt>
                <c:pt idx="115">
                  <c:v>6</c:v>
                </c:pt>
                <c:pt idx="116">
                  <c:v>5</c:v>
                </c:pt>
                <c:pt idx="117">
                  <c:v>8</c:v>
                </c:pt>
                <c:pt idx="118">
                  <c:v>17</c:v>
                </c:pt>
                <c:pt idx="119">
                  <c:v>17</c:v>
                </c:pt>
                <c:pt idx="120">
                  <c:v>13</c:v>
                </c:pt>
                <c:pt idx="121">
                  <c:v>13</c:v>
                </c:pt>
                <c:pt idx="122">
                  <c:v>17</c:v>
                </c:pt>
                <c:pt idx="123">
                  <c:v>15</c:v>
                </c:pt>
                <c:pt idx="124">
                  <c:v>12</c:v>
                </c:pt>
                <c:pt idx="125">
                  <c:v>28</c:v>
                </c:pt>
                <c:pt idx="126">
                  <c:v>20</c:v>
                </c:pt>
                <c:pt idx="127">
                  <c:v>23</c:v>
                </c:pt>
                <c:pt idx="128">
                  <c:v>22</c:v>
                </c:pt>
                <c:pt idx="129">
                  <c:v>38</c:v>
                </c:pt>
                <c:pt idx="130">
                  <c:v>22</c:v>
                </c:pt>
                <c:pt idx="131">
                  <c:v>18</c:v>
                </c:pt>
                <c:pt idx="132">
                  <c:v>57</c:v>
                </c:pt>
                <c:pt idx="133">
                  <c:v>39</c:v>
                </c:pt>
                <c:pt idx="134">
                  <c:v>39</c:v>
                </c:pt>
                <c:pt idx="135">
                  <c:v>27</c:v>
                </c:pt>
                <c:pt idx="136">
                  <c:v>41</c:v>
                </c:pt>
                <c:pt idx="137">
                  <c:v>21</c:v>
                </c:pt>
                <c:pt idx="138">
                  <c:v>19</c:v>
                </c:pt>
                <c:pt idx="139">
                  <c:v>53</c:v>
                </c:pt>
                <c:pt idx="140">
                  <c:v>46</c:v>
                </c:pt>
                <c:pt idx="141">
                  <c:v>48</c:v>
                </c:pt>
                <c:pt idx="142">
                  <c:v>50</c:v>
                </c:pt>
                <c:pt idx="143">
                  <c:v>45</c:v>
                </c:pt>
                <c:pt idx="144">
                  <c:v>50</c:v>
                </c:pt>
                <c:pt idx="145">
                  <c:v>23</c:v>
                </c:pt>
                <c:pt idx="146">
                  <c:v>65</c:v>
                </c:pt>
                <c:pt idx="147">
                  <c:v>62</c:v>
                </c:pt>
                <c:pt idx="148">
                  <c:v>44</c:v>
                </c:pt>
                <c:pt idx="149">
                  <c:v>58</c:v>
                </c:pt>
                <c:pt idx="150">
                  <c:v>84</c:v>
                </c:pt>
                <c:pt idx="151">
                  <c:v>50</c:v>
                </c:pt>
                <c:pt idx="152">
                  <c:v>31</c:v>
                </c:pt>
                <c:pt idx="153">
                  <c:v>63</c:v>
                </c:pt>
                <c:pt idx="154">
                  <c:v>73</c:v>
                </c:pt>
                <c:pt idx="155">
                  <c:v>44</c:v>
                </c:pt>
                <c:pt idx="156">
                  <c:v>71</c:v>
                </c:pt>
                <c:pt idx="157">
                  <c:v>57</c:v>
                </c:pt>
                <c:pt idx="158">
                  <c:v>34</c:v>
                </c:pt>
                <c:pt idx="159">
                  <c:v>42</c:v>
                </c:pt>
                <c:pt idx="160">
                  <c:v>64</c:v>
                </c:pt>
                <c:pt idx="161">
                  <c:v>52</c:v>
                </c:pt>
                <c:pt idx="162">
                  <c:v>57</c:v>
                </c:pt>
                <c:pt idx="163">
                  <c:v>44</c:v>
                </c:pt>
                <c:pt idx="164">
                  <c:v>52</c:v>
                </c:pt>
                <c:pt idx="165">
                  <c:v>27</c:v>
                </c:pt>
                <c:pt idx="166">
                  <c:v>17</c:v>
                </c:pt>
                <c:pt idx="167">
                  <c:v>47</c:v>
                </c:pt>
                <c:pt idx="168">
                  <c:v>45</c:v>
                </c:pt>
                <c:pt idx="169">
                  <c:v>31</c:v>
                </c:pt>
                <c:pt idx="170">
                  <c:v>33</c:v>
                </c:pt>
                <c:pt idx="171">
                  <c:v>34</c:v>
                </c:pt>
                <c:pt idx="172">
                  <c:v>21</c:v>
                </c:pt>
                <c:pt idx="173">
                  <c:v>13</c:v>
                </c:pt>
                <c:pt idx="174">
                  <c:v>30</c:v>
                </c:pt>
                <c:pt idx="175">
                  <c:v>25</c:v>
                </c:pt>
                <c:pt idx="176">
                  <c:v>25</c:v>
                </c:pt>
                <c:pt idx="177">
                  <c:v>16</c:v>
                </c:pt>
                <c:pt idx="178">
                  <c:v>25</c:v>
                </c:pt>
                <c:pt idx="179">
                  <c:v>21</c:v>
                </c:pt>
                <c:pt idx="180">
                  <c:v>15</c:v>
                </c:pt>
                <c:pt idx="181">
                  <c:v>27</c:v>
                </c:pt>
                <c:pt idx="182">
                  <c:v>31</c:v>
                </c:pt>
                <c:pt idx="183">
                  <c:v>22</c:v>
                </c:pt>
                <c:pt idx="184">
                  <c:v>24</c:v>
                </c:pt>
                <c:pt idx="185">
                  <c:v>4</c:v>
                </c:pt>
                <c:pt idx="186">
                  <c:v>12</c:v>
                </c:pt>
                <c:pt idx="187">
                  <c:v>8</c:v>
                </c:pt>
                <c:pt idx="188">
                  <c:v>26</c:v>
                </c:pt>
                <c:pt idx="189">
                  <c:v>34</c:v>
                </c:pt>
                <c:pt idx="190">
                  <c:v>27</c:v>
                </c:pt>
                <c:pt idx="191">
                  <c:v>23</c:v>
                </c:pt>
                <c:pt idx="192">
                  <c:v>21</c:v>
                </c:pt>
                <c:pt idx="193">
                  <c:v>7</c:v>
                </c:pt>
                <c:pt idx="194">
                  <c:v>27</c:v>
                </c:pt>
                <c:pt idx="195">
                  <c:v>41</c:v>
                </c:pt>
                <c:pt idx="196">
                  <c:v>31</c:v>
                </c:pt>
                <c:pt idx="197">
                  <c:v>21</c:v>
                </c:pt>
                <c:pt idx="198">
                  <c:v>26</c:v>
                </c:pt>
                <c:pt idx="199">
                  <c:v>20</c:v>
                </c:pt>
                <c:pt idx="200">
                  <c:v>18</c:v>
                </c:pt>
                <c:pt idx="201">
                  <c:v>16</c:v>
                </c:pt>
                <c:pt idx="202">
                  <c:v>38</c:v>
                </c:pt>
                <c:pt idx="203">
                  <c:v>52</c:v>
                </c:pt>
                <c:pt idx="204">
                  <c:v>80</c:v>
                </c:pt>
                <c:pt idx="205">
                  <c:v>47</c:v>
                </c:pt>
                <c:pt idx="206">
                  <c:v>58</c:v>
                </c:pt>
                <c:pt idx="207">
                  <c:v>41</c:v>
                </c:pt>
                <c:pt idx="208">
                  <c:v>52</c:v>
                </c:pt>
                <c:pt idx="209">
                  <c:v>132</c:v>
                </c:pt>
                <c:pt idx="210">
                  <c:v>112</c:v>
                </c:pt>
                <c:pt idx="211">
                  <c:v>150</c:v>
                </c:pt>
                <c:pt idx="212">
                  <c:v>125</c:v>
                </c:pt>
                <c:pt idx="213">
                  <c:v>109</c:v>
                </c:pt>
                <c:pt idx="214">
                  <c:v>68</c:v>
                </c:pt>
                <c:pt idx="215">
                  <c:v>93</c:v>
                </c:pt>
                <c:pt idx="216">
                  <c:v>207</c:v>
                </c:pt>
                <c:pt idx="217">
                  <c:v>173</c:v>
                </c:pt>
                <c:pt idx="218">
                  <c:v>183</c:v>
                </c:pt>
                <c:pt idx="219">
                  <c:v>212</c:v>
                </c:pt>
                <c:pt idx="220">
                  <c:v>197</c:v>
                </c:pt>
                <c:pt idx="221">
                  <c:v>73</c:v>
                </c:pt>
                <c:pt idx="222">
                  <c:v>118</c:v>
                </c:pt>
                <c:pt idx="223">
                  <c:v>216</c:v>
                </c:pt>
                <c:pt idx="224">
                  <c:v>243</c:v>
                </c:pt>
                <c:pt idx="225">
                  <c:v>185</c:v>
                </c:pt>
                <c:pt idx="226">
                  <c:v>148</c:v>
                </c:pt>
                <c:pt idx="227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10">
                  <c:v>0.56471970000000005</c:v>
                </c:pt>
                <c:pt idx="11">
                  <c:v>3.1059583000000002</c:v>
                </c:pt>
                <c:pt idx="12">
                  <c:v>12.1414735</c:v>
                </c:pt>
                <c:pt idx="13">
                  <c:v>12.1415764</c:v>
                </c:pt>
                <c:pt idx="14">
                  <c:v>9.0380161000000001</c:v>
                </c:pt>
                <c:pt idx="15">
                  <c:v>4.2381380999999996</c:v>
                </c:pt>
                <c:pt idx="16">
                  <c:v>5.0876345000000001</c:v>
                </c:pt>
                <c:pt idx="17">
                  <c:v>3.6757637000000001</c:v>
                </c:pt>
                <c:pt idx="18">
                  <c:v>1.9799066999999999</c:v>
                </c:pt>
                <c:pt idx="19">
                  <c:v>2.2630834000000002</c:v>
                </c:pt>
                <c:pt idx="20">
                  <c:v>0.56585730000000001</c:v>
                </c:pt>
                <c:pt idx="21">
                  <c:v>0.28296939999999998</c:v>
                </c:pt>
                <c:pt idx="22">
                  <c:v>1.4150436</c:v>
                </c:pt>
                <c:pt idx="23">
                  <c:v>1.4151997999999999</c:v>
                </c:pt>
                <c:pt idx="24">
                  <c:v>0.84920879999999999</c:v>
                </c:pt>
                <c:pt idx="25">
                  <c:v>1.4154962</c:v>
                </c:pt>
                <c:pt idx="26">
                  <c:v>1.1325124</c:v>
                </c:pt>
                <c:pt idx="27">
                  <c:v>0.84941069999999996</c:v>
                </c:pt>
                <c:pt idx="28">
                  <c:v>1.6987927</c:v>
                </c:pt>
                <c:pt idx="29">
                  <c:v>1.132506</c:v>
                </c:pt>
                <c:pt idx="30">
                  <c:v>2.8312168999999998</c:v>
                </c:pt>
                <c:pt idx="31">
                  <c:v>4.8122378000000001</c:v>
                </c:pt>
                <c:pt idx="32">
                  <c:v>3.6780620000000002</c:v>
                </c:pt>
                <c:pt idx="33">
                  <c:v>6.5039362000000001</c:v>
                </c:pt>
                <c:pt idx="34">
                  <c:v>7.3484106999999996</c:v>
                </c:pt>
                <c:pt idx="35">
                  <c:v>8.4734750999999999</c:v>
                </c:pt>
                <c:pt idx="36">
                  <c:v>19.1663754</c:v>
                </c:pt>
                <c:pt idx="37">
                  <c:v>32.052092999999999</c:v>
                </c:pt>
                <c:pt idx="38">
                  <c:v>52.445738200000001</c:v>
                </c:pt>
                <c:pt idx="39">
                  <c:v>57.9116553</c:v>
                </c:pt>
                <c:pt idx="40">
                  <c:v>106.6654752</c:v>
                </c:pt>
                <c:pt idx="41">
                  <c:v>201.9835679</c:v>
                </c:pt>
                <c:pt idx="42">
                  <c:v>289.04956479999998</c:v>
                </c:pt>
                <c:pt idx="43">
                  <c:v>291.8594061</c:v>
                </c:pt>
                <c:pt idx="44">
                  <c:v>215.9430533</c:v>
                </c:pt>
                <c:pt idx="45">
                  <c:v>126.56925</c:v>
                </c:pt>
                <c:pt idx="46">
                  <c:v>94.269053299999996</c:v>
                </c:pt>
                <c:pt idx="47">
                  <c:v>85.897278999999997</c:v>
                </c:pt>
                <c:pt idx="48">
                  <c:v>93.648570500000005</c:v>
                </c:pt>
                <c:pt idx="49">
                  <c:v>117.2365511</c:v>
                </c:pt>
                <c:pt idx="50">
                  <c:v>135.5412484</c:v>
                </c:pt>
                <c:pt idx="51">
                  <c:v>211.04252220000001</c:v>
                </c:pt>
                <c:pt idx="52">
                  <c:v>177.1243117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49-4946-8B42-18535E6234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93.276331099999993</c:v>
                </c:pt>
                <c:pt idx="1">
                  <c:v>190.77610050000001</c:v>
                </c:pt>
                <c:pt idx="2">
                  <c:v>123.3634888</c:v>
                </c:pt>
                <c:pt idx="3">
                  <c:v>103.13491209999999</c:v>
                </c:pt>
                <c:pt idx="4">
                  <c:v>67.0325177</c:v>
                </c:pt>
                <c:pt idx="5">
                  <c:v>56.490571899999999</c:v>
                </c:pt>
                <c:pt idx="6">
                  <c:v>43.195982999999998</c:v>
                </c:pt>
                <c:pt idx="7">
                  <c:v>40.380748599999997</c:v>
                </c:pt>
                <c:pt idx="8">
                  <c:v>48.197604599999998</c:v>
                </c:pt>
                <c:pt idx="9">
                  <c:v>57.693754800000001</c:v>
                </c:pt>
                <c:pt idx="10">
                  <c:v>31.222210100000002</c:v>
                </c:pt>
                <c:pt idx="11">
                  <c:v>30.946028399999999</c:v>
                </c:pt>
                <c:pt idx="12">
                  <c:v>18.680696699999999</c:v>
                </c:pt>
                <c:pt idx="13">
                  <c:v>16.451404199999999</c:v>
                </c:pt>
                <c:pt idx="14">
                  <c:v>10.3154866</c:v>
                </c:pt>
                <c:pt idx="15">
                  <c:v>7.5256499000000003</c:v>
                </c:pt>
                <c:pt idx="16">
                  <c:v>8.9171264000000008</c:v>
                </c:pt>
                <c:pt idx="17">
                  <c:v>7.8005509999999996</c:v>
                </c:pt>
                <c:pt idx="18">
                  <c:v>5.0141929000000003</c:v>
                </c:pt>
                <c:pt idx="19">
                  <c:v>3.0648436999999999</c:v>
                </c:pt>
                <c:pt idx="20">
                  <c:v>3.0654672000000001</c:v>
                </c:pt>
                <c:pt idx="21">
                  <c:v>2.5086268</c:v>
                </c:pt>
                <c:pt idx="22">
                  <c:v>2.2303443000000001</c:v>
                </c:pt>
                <c:pt idx="23">
                  <c:v>0</c:v>
                </c:pt>
                <c:pt idx="24">
                  <c:v>0.27892440000000002</c:v>
                </c:pt>
                <c:pt idx="25">
                  <c:v>0.2789913</c:v>
                </c:pt>
                <c:pt idx="26">
                  <c:v>0.27905600000000003</c:v>
                </c:pt>
                <c:pt idx="27">
                  <c:v>0.2790069</c:v>
                </c:pt>
                <c:pt idx="28">
                  <c:v>1.3944823</c:v>
                </c:pt>
                <c:pt idx="29">
                  <c:v>4.4605644</c:v>
                </c:pt>
                <c:pt idx="30">
                  <c:v>2.2293995999999998</c:v>
                </c:pt>
                <c:pt idx="31">
                  <c:v>2.5069777000000002</c:v>
                </c:pt>
                <c:pt idx="32">
                  <c:v>2.7840495999999999</c:v>
                </c:pt>
                <c:pt idx="33">
                  <c:v>1.3912849</c:v>
                </c:pt>
                <c:pt idx="34">
                  <c:v>1.3905498000000001</c:v>
                </c:pt>
                <c:pt idx="35">
                  <c:v>3.0572455000000001</c:v>
                </c:pt>
                <c:pt idx="36">
                  <c:v>1.9418660000000001</c:v>
                </c:pt>
                <c:pt idx="37">
                  <c:v>3.5983071</c:v>
                </c:pt>
                <c:pt idx="38">
                  <c:v>3.3141571999999999</c:v>
                </c:pt>
                <c:pt idx="39">
                  <c:v>7.4403325999999996</c:v>
                </c:pt>
                <c:pt idx="40">
                  <c:v>5.7790423999999998</c:v>
                </c:pt>
                <c:pt idx="41">
                  <c:v>9.6300147999999997</c:v>
                </c:pt>
                <c:pt idx="42">
                  <c:v>21.457338400000001</c:v>
                </c:pt>
                <c:pt idx="43">
                  <c:v>36.855915299999999</c:v>
                </c:pt>
                <c:pt idx="44">
                  <c:v>64.079116999999997</c:v>
                </c:pt>
                <c:pt idx="45">
                  <c:v>75.368521799999996</c:v>
                </c:pt>
                <c:pt idx="46">
                  <c:v>91.065911299999996</c:v>
                </c:pt>
                <c:pt idx="47">
                  <c:v>107.8701155</c:v>
                </c:pt>
                <c:pt idx="48">
                  <c:v>89.453070100000005</c:v>
                </c:pt>
                <c:pt idx="49">
                  <c:v>64.429264099999997</c:v>
                </c:pt>
                <c:pt idx="50">
                  <c:v>42.968814500000001</c:v>
                </c:pt>
                <c:pt idx="51">
                  <c:v>42.433711099999996</c:v>
                </c:pt>
                <c:pt idx="52">
                  <c:v>33.6287331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49-4946-8B42-18535E6234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60B6-4916-93FC-CDB9D95E353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13.5119484</c:v>
                </c:pt>
                <c:pt idx="1">
                  <c:v>44.982145099999997</c:v>
                </c:pt>
                <c:pt idx="2">
                  <c:v>76.266690199999999</c:v>
                </c:pt>
                <c:pt idx="3">
                  <c:v>166.57074549999999</c:v>
                </c:pt>
                <c:pt idx="4">
                  <c:v>247.97052049999999</c:v>
                </c:pt>
                <c:pt idx="5">
                  <c:v>233.538580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549-4946-8B42-18535E6234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62</c:f>
              <c:numCache>
                <c:formatCode>m/d/yyyy</c:formatCode>
                <c:ptCount val="228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  <c:pt idx="200">
                  <c:v>44569</c:v>
                </c:pt>
                <c:pt idx="201">
                  <c:v>44570</c:v>
                </c:pt>
                <c:pt idx="202">
                  <c:v>44571</c:v>
                </c:pt>
                <c:pt idx="203">
                  <c:v>44572</c:v>
                </c:pt>
                <c:pt idx="204">
                  <c:v>44573</c:v>
                </c:pt>
                <c:pt idx="205">
                  <c:v>44574</c:v>
                </c:pt>
                <c:pt idx="206">
                  <c:v>44575</c:v>
                </c:pt>
                <c:pt idx="207">
                  <c:v>44576</c:v>
                </c:pt>
                <c:pt idx="208">
                  <c:v>44577</c:v>
                </c:pt>
                <c:pt idx="209">
                  <c:v>44578</c:v>
                </c:pt>
                <c:pt idx="210">
                  <c:v>44579</c:v>
                </c:pt>
                <c:pt idx="211">
                  <c:v>44580</c:v>
                </c:pt>
                <c:pt idx="212">
                  <c:v>44581</c:v>
                </c:pt>
                <c:pt idx="213">
                  <c:v>44582</c:v>
                </c:pt>
                <c:pt idx="214">
                  <c:v>44583</c:v>
                </c:pt>
                <c:pt idx="215">
                  <c:v>44584</c:v>
                </c:pt>
                <c:pt idx="216">
                  <c:v>44585</c:v>
                </c:pt>
                <c:pt idx="217">
                  <c:v>44586</c:v>
                </c:pt>
                <c:pt idx="218">
                  <c:v>44587</c:v>
                </c:pt>
                <c:pt idx="219">
                  <c:v>44588</c:v>
                </c:pt>
                <c:pt idx="220">
                  <c:v>44589</c:v>
                </c:pt>
                <c:pt idx="221">
                  <c:v>44590</c:v>
                </c:pt>
                <c:pt idx="222">
                  <c:v>44591</c:v>
                </c:pt>
                <c:pt idx="223">
                  <c:v>44592</c:v>
                </c:pt>
                <c:pt idx="224">
                  <c:v>44593</c:v>
                </c:pt>
                <c:pt idx="225">
                  <c:v>44594</c:v>
                </c:pt>
                <c:pt idx="226">
                  <c:v>44595</c:v>
                </c:pt>
                <c:pt idx="227">
                  <c:v>44596</c:v>
                </c:pt>
              </c:numCache>
            </c:numRef>
          </c:cat>
          <c:val>
            <c:numRef>
              <c:f>Sheet1!$B$135:$B$362</c:f>
              <c:numCache>
                <c:formatCode>General</c:formatCode>
                <c:ptCount val="228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3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  <c:pt idx="14">
                  <c:v>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5</c:v>
                </c:pt>
                <c:pt idx="28">
                  <c:v>1</c:v>
                </c:pt>
                <c:pt idx="29">
                  <c:v>4</c:v>
                </c:pt>
                <c:pt idx="30">
                  <c:v>0</c:v>
                </c:pt>
                <c:pt idx="31">
                  <c:v>4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2</c:v>
                </c:pt>
                <c:pt idx="38">
                  <c:v>2</c:v>
                </c:pt>
                <c:pt idx="39">
                  <c:v>1</c:v>
                </c:pt>
                <c:pt idx="40">
                  <c:v>0</c:v>
                </c:pt>
                <c:pt idx="41">
                  <c:v>0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3</c:v>
                </c:pt>
                <c:pt idx="54">
                  <c:v>1</c:v>
                </c:pt>
                <c:pt idx="55">
                  <c:v>3</c:v>
                </c:pt>
                <c:pt idx="56">
                  <c:v>3</c:v>
                </c:pt>
                <c:pt idx="57">
                  <c:v>2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1</c:v>
                </c:pt>
                <c:pt idx="62">
                  <c:v>5</c:v>
                </c:pt>
                <c:pt idx="63">
                  <c:v>2</c:v>
                </c:pt>
                <c:pt idx="64">
                  <c:v>0</c:v>
                </c:pt>
                <c:pt idx="65">
                  <c:v>2</c:v>
                </c:pt>
                <c:pt idx="66">
                  <c:v>1</c:v>
                </c:pt>
                <c:pt idx="67">
                  <c:v>2</c:v>
                </c:pt>
                <c:pt idx="68">
                  <c:v>1</c:v>
                </c:pt>
                <c:pt idx="69">
                  <c:v>0</c:v>
                </c:pt>
                <c:pt idx="70">
                  <c:v>2</c:v>
                </c:pt>
                <c:pt idx="71">
                  <c:v>1</c:v>
                </c:pt>
                <c:pt idx="72">
                  <c:v>6</c:v>
                </c:pt>
                <c:pt idx="73">
                  <c:v>6</c:v>
                </c:pt>
                <c:pt idx="74">
                  <c:v>1</c:v>
                </c:pt>
                <c:pt idx="75">
                  <c:v>1</c:v>
                </c:pt>
                <c:pt idx="76">
                  <c:v>2</c:v>
                </c:pt>
                <c:pt idx="77">
                  <c:v>6</c:v>
                </c:pt>
                <c:pt idx="78">
                  <c:v>1</c:v>
                </c:pt>
                <c:pt idx="79">
                  <c:v>4</c:v>
                </c:pt>
                <c:pt idx="80">
                  <c:v>0</c:v>
                </c:pt>
                <c:pt idx="81">
                  <c:v>1</c:v>
                </c:pt>
                <c:pt idx="82">
                  <c:v>2</c:v>
                </c:pt>
                <c:pt idx="83">
                  <c:v>3</c:v>
                </c:pt>
                <c:pt idx="84">
                  <c:v>5</c:v>
                </c:pt>
                <c:pt idx="85">
                  <c:v>3</c:v>
                </c:pt>
                <c:pt idx="86">
                  <c:v>8</c:v>
                </c:pt>
                <c:pt idx="87">
                  <c:v>6</c:v>
                </c:pt>
                <c:pt idx="88">
                  <c:v>2</c:v>
                </c:pt>
                <c:pt idx="89">
                  <c:v>2</c:v>
                </c:pt>
                <c:pt idx="90">
                  <c:v>10</c:v>
                </c:pt>
                <c:pt idx="91">
                  <c:v>7</c:v>
                </c:pt>
                <c:pt idx="92">
                  <c:v>6</c:v>
                </c:pt>
                <c:pt idx="93">
                  <c:v>5</c:v>
                </c:pt>
                <c:pt idx="94">
                  <c:v>7</c:v>
                </c:pt>
                <c:pt idx="95">
                  <c:v>6</c:v>
                </c:pt>
                <c:pt idx="96">
                  <c:v>6</c:v>
                </c:pt>
                <c:pt idx="97">
                  <c:v>5</c:v>
                </c:pt>
                <c:pt idx="98">
                  <c:v>9</c:v>
                </c:pt>
                <c:pt idx="99">
                  <c:v>12</c:v>
                </c:pt>
                <c:pt idx="100">
                  <c:v>16</c:v>
                </c:pt>
                <c:pt idx="101">
                  <c:v>8</c:v>
                </c:pt>
                <c:pt idx="102">
                  <c:v>5</c:v>
                </c:pt>
                <c:pt idx="103">
                  <c:v>8</c:v>
                </c:pt>
                <c:pt idx="104">
                  <c:v>10</c:v>
                </c:pt>
                <c:pt idx="105">
                  <c:v>13</c:v>
                </c:pt>
                <c:pt idx="106">
                  <c:v>9</c:v>
                </c:pt>
                <c:pt idx="107">
                  <c:v>8</c:v>
                </c:pt>
                <c:pt idx="108">
                  <c:v>9</c:v>
                </c:pt>
                <c:pt idx="109">
                  <c:v>5</c:v>
                </c:pt>
                <c:pt idx="110">
                  <c:v>4</c:v>
                </c:pt>
                <c:pt idx="111">
                  <c:v>18</c:v>
                </c:pt>
                <c:pt idx="112">
                  <c:v>19</c:v>
                </c:pt>
                <c:pt idx="113">
                  <c:v>22</c:v>
                </c:pt>
                <c:pt idx="114">
                  <c:v>21</c:v>
                </c:pt>
                <c:pt idx="115">
                  <c:v>17</c:v>
                </c:pt>
                <c:pt idx="116">
                  <c:v>10</c:v>
                </c:pt>
                <c:pt idx="117">
                  <c:v>10</c:v>
                </c:pt>
                <c:pt idx="118">
                  <c:v>35</c:v>
                </c:pt>
                <c:pt idx="119">
                  <c:v>29</c:v>
                </c:pt>
                <c:pt idx="120">
                  <c:v>26</c:v>
                </c:pt>
                <c:pt idx="121">
                  <c:v>53</c:v>
                </c:pt>
                <c:pt idx="122">
                  <c:v>43</c:v>
                </c:pt>
                <c:pt idx="123">
                  <c:v>34</c:v>
                </c:pt>
                <c:pt idx="124">
                  <c:v>11</c:v>
                </c:pt>
                <c:pt idx="125">
                  <c:v>65</c:v>
                </c:pt>
                <c:pt idx="126">
                  <c:v>68</c:v>
                </c:pt>
                <c:pt idx="127">
                  <c:v>77</c:v>
                </c:pt>
                <c:pt idx="128">
                  <c:v>35</c:v>
                </c:pt>
                <c:pt idx="129">
                  <c:v>82</c:v>
                </c:pt>
                <c:pt idx="130">
                  <c:v>63</c:v>
                </c:pt>
                <c:pt idx="131">
                  <c:v>37</c:v>
                </c:pt>
                <c:pt idx="132">
                  <c:v>111</c:v>
                </c:pt>
                <c:pt idx="133">
                  <c:v>104</c:v>
                </c:pt>
                <c:pt idx="134">
                  <c:v>117</c:v>
                </c:pt>
                <c:pt idx="135">
                  <c:v>103</c:v>
                </c:pt>
                <c:pt idx="136">
                  <c:v>112</c:v>
                </c:pt>
                <c:pt idx="137">
                  <c:v>83</c:v>
                </c:pt>
                <c:pt idx="138">
                  <c:v>28</c:v>
                </c:pt>
                <c:pt idx="139">
                  <c:v>134</c:v>
                </c:pt>
                <c:pt idx="140">
                  <c:v>147</c:v>
                </c:pt>
                <c:pt idx="141">
                  <c:v>168</c:v>
                </c:pt>
                <c:pt idx="142">
                  <c:v>96</c:v>
                </c:pt>
                <c:pt idx="143">
                  <c:v>161</c:v>
                </c:pt>
                <c:pt idx="144">
                  <c:v>97</c:v>
                </c:pt>
                <c:pt idx="145">
                  <c:v>54</c:v>
                </c:pt>
                <c:pt idx="146">
                  <c:v>160</c:v>
                </c:pt>
                <c:pt idx="147">
                  <c:v>229</c:v>
                </c:pt>
                <c:pt idx="148">
                  <c:v>121</c:v>
                </c:pt>
                <c:pt idx="149">
                  <c:v>167</c:v>
                </c:pt>
                <c:pt idx="150">
                  <c:v>236</c:v>
                </c:pt>
                <c:pt idx="151">
                  <c:v>154</c:v>
                </c:pt>
                <c:pt idx="152">
                  <c:v>84</c:v>
                </c:pt>
                <c:pt idx="153">
                  <c:v>192</c:v>
                </c:pt>
                <c:pt idx="154">
                  <c:v>259</c:v>
                </c:pt>
                <c:pt idx="155">
                  <c:v>141</c:v>
                </c:pt>
                <c:pt idx="156">
                  <c:v>214</c:v>
                </c:pt>
                <c:pt idx="157">
                  <c:v>188</c:v>
                </c:pt>
                <c:pt idx="158">
                  <c:v>108</c:v>
                </c:pt>
                <c:pt idx="159">
                  <c:v>78</c:v>
                </c:pt>
                <c:pt idx="160">
                  <c:v>200</c:v>
                </c:pt>
                <c:pt idx="161">
                  <c:v>164</c:v>
                </c:pt>
                <c:pt idx="162">
                  <c:v>175</c:v>
                </c:pt>
                <c:pt idx="163">
                  <c:v>145</c:v>
                </c:pt>
                <c:pt idx="164">
                  <c:v>146</c:v>
                </c:pt>
                <c:pt idx="165">
                  <c:v>86</c:v>
                </c:pt>
                <c:pt idx="166">
                  <c:v>65</c:v>
                </c:pt>
                <c:pt idx="167">
                  <c:v>167</c:v>
                </c:pt>
                <c:pt idx="168">
                  <c:v>153</c:v>
                </c:pt>
                <c:pt idx="169">
                  <c:v>120</c:v>
                </c:pt>
                <c:pt idx="170">
                  <c:v>127</c:v>
                </c:pt>
                <c:pt idx="171">
                  <c:v>112</c:v>
                </c:pt>
                <c:pt idx="172">
                  <c:v>74</c:v>
                </c:pt>
                <c:pt idx="173">
                  <c:v>58</c:v>
                </c:pt>
                <c:pt idx="174">
                  <c:v>103</c:v>
                </c:pt>
                <c:pt idx="175">
                  <c:v>125</c:v>
                </c:pt>
                <c:pt idx="176">
                  <c:v>86</c:v>
                </c:pt>
                <c:pt idx="177">
                  <c:v>66</c:v>
                </c:pt>
                <c:pt idx="178">
                  <c:v>81</c:v>
                </c:pt>
                <c:pt idx="179">
                  <c:v>48</c:v>
                </c:pt>
                <c:pt idx="180">
                  <c:v>33</c:v>
                </c:pt>
                <c:pt idx="181">
                  <c:v>90</c:v>
                </c:pt>
                <c:pt idx="182">
                  <c:v>83</c:v>
                </c:pt>
                <c:pt idx="183">
                  <c:v>52</c:v>
                </c:pt>
                <c:pt idx="184">
                  <c:v>60</c:v>
                </c:pt>
                <c:pt idx="185">
                  <c:v>22</c:v>
                </c:pt>
                <c:pt idx="186">
                  <c:v>18</c:v>
                </c:pt>
                <c:pt idx="187">
                  <c:v>18</c:v>
                </c:pt>
                <c:pt idx="188">
                  <c:v>75</c:v>
                </c:pt>
                <c:pt idx="189">
                  <c:v>91</c:v>
                </c:pt>
                <c:pt idx="190">
                  <c:v>56</c:v>
                </c:pt>
                <c:pt idx="191">
                  <c:v>53</c:v>
                </c:pt>
                <c:pt idx="192">
                  <c:v>52</c:v>
                </c:pt>
                <c:pt idx="193">
                  <c:v>12</c:v>
                </c:pt>
                <c:pt idx="194">
                  <c:v>36</c:v>
                </c:pt>
                <c:pt idx="195">
                  <c:v>98</c:v>
                </c:pt>
                <c:pt idx="196">
                  <c:v>80</c:v>
                </c:pt>
                <c:pt idx="197">
                  <c:v>56</c:v>
                </c:pt>
                <c:pt idx="198">
                  <c:v>59</c:v>
                </c:pt>
                <c:pt idx="199">
                  <c:v>67</c:v>
                </c:pt>
                <c:pt idx="200">
                  <c:v>37</c:v>
                </c:pt>
                <c:pt idx="201">
                  <c:v>30</c:v>
                </c:pt>
                <c:pt idx="202">
                  <c:v>71</c:v>
                </c:pt>
                <c:pt idx="203">
                  <c:v>106</c:v>
                </c:pt>
                <c:pt idx="204">
                  <c:v>117</c:v>
                </c:pt>
                <c:pt idx="205">
                  <c:v>97</c:v>
                </c:pt>
                <c:pt idx="206">
                  <c:v>113</c:v>
                </c:pt>
                <c:pt idx="207">
                  <c:v>92</c:v>
                </c:pt>
                <c:pt idx="208">
                  <c:v>68</c:v>
                </c:pt>
                <c:pt idx="209">
                  <c:v>238</c:v>
                </c:pt>
                <c:pt idx="210">
                  <c:v>270</c:v>
                </c:pt>
                <c:pt idx="211">
                  <c:v>289</c:v>
                </c:pt>
                <c:pt idx="212">
                  <c:v>291</c:v>
                </c:pt>
                <c:pt idx="213">
                  <c:v>314</c:v>
                </c:pt>
                <c:pt idx="214">
                  <c:v>171</c:v>
                </c:pt>
                <c:pt idx="215">
                  <c:v>187</c:v>
                </c:pt>
                <c:pt idx="216">
                  <c:v>419</c:v>
                </c:pt>
                <c:pt idx="217">
                  <c:v>386</c:v>
                </c:pt>
                <c:pt idx="218">
                  <c:v>442</c:v>
                </c:pt>
                <c:pt idx="219">
                  <c:v>816</c:v>
                </c:pt>
                <c:pt idx="220">
                  <c:v>612</c:v>
                </c:pt>
                <c:pt idx="221">
                  <c:v>217</c:v>
                </c:pt>
                <c:pt idx="222">
                  <c:v>324</c:v>
                </c:pt>
                <c:pt idx="223">
                  <c:v>638</c:v>
                </c:pt>
                <c:pt idx="224">
                  <c:v>712</c:v>
                </c:pt>
                <c:pt idx="225">
                  <c:v>574</c:v>
                </c:pt>
                <c:pt idx="226">
                  <c:v>553</c:v>
                </c:pt>
                <c:pt idx="227">
                  <c:v>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10">
                  <c:v>0</c:v>
                </c:pt>
                <c:pt idx="11">
                  <c:v>1.4093757</c:v>
                </c:pt>
                <c:pt idx="12">
                  <c:v>4.7918773999999997</c:v>
                </c:pt>
                <c:pt idx="13">
                  <c:v>10.288486300000001</c:v>
                </c:pt>
                <c:pt idx="14">
                  <c:v>14.9415306</c:v>
                </c:pt>
                <c:pt idx="15">
                  <c:v>7.6132040999999999</c:v>
                </c:pt>
                <c:pt idx="16">
                  <c:v>7.1916272000000001</c:v>
                </c:pt>
                <c:pt idx="17">
                  <c:v>4.3722320000000003</c:v>
                </c:pt>
                <c:pt idx="18">
                  <c:v>5.3602813999999999</c:v>
                </c:pt>
                <c:pt idx="19">
                  <c:v>2.3980849000000002</c:v>
                </c:pt>
                <c:pt idx="20">
                  <c:v>0.70533500000000005</c:v>
                </c:pt>
                <c:pt idx="21">
                  <c:v>0.84642110000000004</c:v>
                </c:pt>
                <c:pt idx="22">
                  <c:v>1.2696620999999999</c:v>
                </c:pt>
                <c:pt idx="23">
                  <c:v>2.2572725999999999</c:v>
                </c:pt>
                <c:pt idx="24">
                  <c:v>2.1162885999999999</c:v>
                </c:pt>
                <c:pt idx="25">
                  <c:v>1.8341970000000001</c:v>
                </c:pt>
                <c:pt idx="26">
                  <c:v>0.84658949999999999</c:v>
                </c:pt>
                <c:pt idx="27">
                  <c:v>1.8341608</c:v>
                </c:pt>
                <c:pt idx="28">
                  <c:v>3.6678869000000001</c:v>
                </c:pt>
                <c:pt idx="29">
                  <c:v>2.2568937</c:v>
                </c:pt>
                <c:pt idx="30">
                  <c:v>5.6415658999999998</c:v>
                </c:pt>
                <c:pt idx="31">
                  <c:v>3.5256554000000002</c:v>
                </c:pt>
                <c:pt idx="32">
                  <c:v>3.8075844000000001</c:v>
                </c:pt>
                <c:pt idx="33">
                  <c:v>4.7945871000000002</c:v>
                </c:pt>
                <c:pt idx="34">
                  <c:v>6.3455803</c:v>
                </c:pt>
                <c:pt idx="35">
                  <c:v>10.151811800000001</c:v>
                </c:pt>
                <c:pt idx="36">
                  <c:v>14.3667839</c:v>
                </c:pt>
                <c:pt idx="37">
                  <c:v>32.213050600000003</c:v>
                </c:pt>
                <c:pt idx="38">
                  <c:v>41.162496300000001</c:v>
                </c:pt>
                <c:pt idx="39">
                  <c:v>55.981535899999997</c:v>
                </c:pt>
                <c:pt idx="40">
                  <c:v>107.7492594</c:v>
                </c:pt>
                <c:pt idx="41">
                  <c:v>217.0897654</c:v>
                </c:pt>
                <c:pt idx="42">
                  <c:v>359.47534209999998</c:v>
                </c:pt>
                <c:pt idx="43">
                  <c:v>449.04429679999998</c:v>
                </c:pt>
                <c:pt idx="44">
                  <c:v>384.25208270000002</c:v>
                </c:pt>
                <c:pt idx="45">
                  <c:v>251.44819659999999</c:v>
                </c:pt>
                <c:pt idx="46">
                  <c:v>180.04118800000001</c:v>
                </c:pt>
                <c:pt idx="47">
                  <c:v>169.42668950000001</c:v>
                </c:pt>
                <c:pt idx="48">
                  <c:v>133.8157927</c:v>
                </c:pt>
                <c:pt idx="49">
                  <c:v>169.76773879999999</c:v>
                </c:pt>
                <c:pt idx="50">
                  <c:v>166.83747969999999</c:v>
                </c:pt>
                <c:pt idx="51">
                  <c:v>205.75732550000001</c:v>
                </c:pt>
                <c:pt idx="52">
                  <c:v>207.50621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C63-4AAB-97B9-1EE2E94FBFD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78.456442100000004</c:v>
                </c:pt>
                <c:pt idx="1">
                  <c:v>264.25729710000002</c:v>
                </c:pt>
                <c:pt idx="2">
                  <c:v>175.5115045</c:v>
                </c:pt>
                <c:pt idx="3">
                  <c:v>139.4555135</c:v>
                </c:pt>
                <c:pt idx="4">
                  <c:v>108.4807835</c:v>
                </c:pt>
                <c:pt idx="5">
                  <c:v>94.378641500000001</c:v>
                </c:pt>
                <c:pt idx="6">
                  <c:v>85.9859151</c:v>
                </c:pt>
                <c:pt idx="7">
                  <c:v>88.695550699999998</c:v>
                </c:pt>
                <c:pt idx="8">
                  <c:v>103.6902341</c:v>
                </c:pt>
                <c:pt idx="9">
                  <c:v>105.6259342</c:v>
                </c:pt>
                <c:pt idx="10">
                  <c:v>91.007337399999997</c:v>
                </c:pt>
                <c:pt idx="11">
                  <c:v>78.756861700000002</c:v>
                </c:pt>
                <c:pt idx="12">
                  <c:v>57.927391200000002</c:v>
                </c:pt>
                <c:pt idx="13">
                  <c:v>41.690616800000001</c:v>
                </c:pt>
                <c:pt idx="14">
                  <c:v>34.460949100000001</c:v>
                </c:pt>
                <c:pt idx="15">
                  <c:v>21.017321299999999</c:v>
                </c:pt>
                <c:pt idx="16">
                  <c:v>17.820903999999999</c:v>
                </c:pt>
                <c:pt idx="17">
                  <c:v>9.1094165</c:v>
                </c:pt>
                <c:pt idx="18">
                  <c:v>10.2087834</c:v>
                </c:pt>
                <c:pt idx="19">
                  <c:v>9.2463276000000008</c:v>
                </c:pt>
                <c:pt idx="20">
                  <c:v>3.8655666000000002</c:v>
                </c:pt>
                <c:pt idx="21">
                  <c:v>3.0383466000000001</c:v>
                </c:pt>
                <c:pt idx="22">
                  <c:v>1.7959917999999999</c:v>
                </c:pt>
                <c:pt idx="23">
                  <c:v>0.82903269999999996</c:v>
                </c:pt>
                <c:pt idx="24">
                  <c:v>0.82912090000000005</c:v>
                </c:pt>
                <c:pt idx="25">
                  <c:v>0.96740800000000005</c:v>
                </c:pt>
                <c:pt idx="26">
                  <c:v>0.69106389999999995</c:v>
                </c:pt>
                <c:pt idx="27">
                  <c:v>0.96689219999999998</c:v>
                </c:pt>
                <c:pt idx="28">
                  <c:v>1.3799554999999999</c:v>
                </c:pt>
                <c:pt idx="29">
                  <c:v>1.2407733999999999</c:v>
                </c:pt>
                <c:pt idx="30">
                  <c:v>1.3773230999999999</c:v>
                </c:pt>
                <c:pt idx="31">
                  <c:v>0.82592969999999999</c:v>
                </c:pt>
                <c:pt idx="32">
                  <c:v>1.1015809000000001</c:v>
                </c:pt>
                <c:pt idx="33">
                  <c:v>2.0661497999999998</c:v>
                </c:pt>
                <c:pt idx="34">
                  <c:v>1.102314</c:v>
                </c:pt>
                <c:pt idx="35">
                  <c:v>1.6539063000000001</c:v>
                </c:pt>
                <c:pt idx="36">
                  <c:v>2.7548778</c:v>
                </c:pt>
                <c:pt idx="37">
                  <c:v>2.7526028999999999</c:v>
                </c:pt>
                <c:pt idx="38">
                  <c:v>5.0881137000000001</c:v>
                </c:pt>
                <c:pt idx="39">
                  <c:v>7.9693756000000002</c:v>
                </c:pt>
                <c:pt idx="40">
                  <c:v>8.1029152</c:v>
                </c:pt>
                <c:pt idx="41">
                  <c:v>12.4975966</c:v>
                </c:pt>
                <c:pt idx="42">
                  <c:v>22.934960799999999</c:v>
                </c:pt>
                <c:pt idx="43">
                  <c:v>41.749524800000003</c:v>
                </c:pt>
                <c:pt idx="44">
                  <c:v>78.967354200000003</c:v>
                </c:pt>
                <c:pt idx="45">
                  <c:v>98.612150700000001</c:v>
                </c:pt>
                <c:pt idx="46">
                  <c:v>124.5778158</c:v>
                </c:pt>
                <c:pt idx="47">
                  <c:v>162.35951499999999</c:v>
                </c:pt>
                <c:pt idx="48">
                  <c:v>133.802604</c:v>
                </c:pt>
                <c:pt idx="49">
                  <c:v>107.760398</c:v>
                </c:pt>
                <c:pt idx="50">
                  <c:v>78.260821699999994</c:v>
                </c:pt>
                <c:pt idx="51">
                  <c:v>55.878839200000002</c:v>
                </c:pt>
                <c:pt idx="52">
                  <c:v>41.5926972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C63-4AAB-97B9-1EE2E94FBFD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BC63-4AAB-97B9-1EE2E94FBFD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9.6475740999999999</c:v>
                </c:pt>
                <c:pt idx="1">
                  <c:v>49.681692099999999</c:v>
                </c:pt>
                <c:pt idx="2">
                  <c:v>65.842710600000004</c:v>
                </c:pt>
                <c:pt idx="3">
                  <c:v>166.0991381</c:v>
                </c:pt>
                <c:pt idx="4">
                  <c:v>292.94947869999999</c:v>
                </c:pt>
                <c:pt idx="5">
                  <c:v>308.0799642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C63-4AAB-97B9-1EE2E94FBF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62</c:f>
              <c:numCache>
                <c:formatCode>m/d/yyyy</c:formatCode>
                <c:ptCount val="228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  <c:pt idx="200">
                  <c:v>44569</c:v>
                </c:pt>
                <c:pt idx="201">
                  <c:v>44570</c:v>
                </c:pt>
                <c:pt idx="202">
                  <c:v>44571</c:v>
                </c:pt>
                <c:pt idx="203">
                  <c:v>44572</c:v>
                </c:pt>
                <c:pt idx="204">
                  <c:v>44573</c:v>
                </c:pt>
                <c:pt idx="205">
                  <c:v>44574</c:v>
                </c:pt>
                <c:pt idx="206">
                  <c:v>44575</c:v>
                </c:pt>
                <c:pt idx="207">
                  <c:v>44576</c:v>
                </c:pt>
                <c:pt idx="208">
                  <c:v>44577</c:v>
                </c:pt>
                <c:pt idx="209">
                  <c:v>44578</c:v>
                </c:pt>
                <c:pt idx="210">
                  <c:v>44579</c:v>
                </c:pt>
                <c:pt idx="211">
                  <c:v>44580</c:v>
                </c:pt>
                <c:pt idx="212">
                  <c:v>44581</c:v>
                </c:pt>
                <c:pt idx="213">
                  <c:v>44582</c:v>
                </c:pt>
                <c:pt idx="214">
                  <c:v>44583</c:v>
                </c:pt>
                <c:pt idx="215">
                  <c:v>44584</c:v>
                </c:pt>
                <c:pt idx="216">
                  <c:v>44585</c:v>
                </c:pt>
                <c:pt idx="217">
                  <c:v>44586</c:v>
                </c:pt>
                <c:pt idx="218">
                  <c:v>44587</c:v>
                </c:pt>
                <c:pt idx="219">
                  <c:v>44588</c:v>
                </c:pt>
                <c:pt idx="220">
                  <c:v>44589</c:v>
                </c:pt>
                <c:pt idx="221">
                  <c:v>44590</c:v>
                </c:pt>
                <c:pt idx="222">
                  <c:v>44591</c:v>
                </c:pt>
                <c:pt idx="223">
                  <c:v>44592</c:v>
                </c:pt>
                <c:pt idx="224">
                  <c:v>44593</c:v>
                </c:pt>
                <c:pt idx="225">
                  <c:v>44594</c:v>
                </c:pt>
                <c:pt idx="226">
                  <c:v>44595</c:v>
                </c:pt>
                <c:pt idx="227">
                  <c:v>44596</c:v>
                </c:pt>
              </c:numCache>
            </c:numRef>
          </c:cat>
          <c:val>
            <c:numRef>
              <c:f>Sheet1!$B$135:$B$362</c:f>
              <c:numCache>
                <c:formatCode>General</c:formatCode>
                <c:ptCount val="228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5</c:v>
                </c:pt>
                <c:pt idx="18">
                  <c:v>4</c:v>
                </c:pt>
                <c:pt idx="19">
                  <c:v>0</c:v>
                </c:pt>
                <c:pt idx="20">
                  <c:v>3</c:v>
                </c:pt>
                <c:pt idx="21">
                  <c:v>0</c:v>
                </c:pt>
                <c:pt idx="22">
                  <c:v>4</c:v>
                </c:pt>
                <c:pt idx="23">
                  <c:v>2</c:v>
                </c:pt>
                <c:pt idx="24">
                  <c:v>5</c:v>
                </c:pt>
                <c:pt idx="25">
                  <c:v>1</c:v>
                </c:pt>
                <c:pt idx="26">
                  <c:v>1</c:v>
                </c:pt>
                <c:pt idx="27">
                  <c:v>4</c:v>
                </c:pt>
                <c:pt idx="28">
                  <c:v>5</c:v>
                </c:pt>
                <c:pt idx="29">
                  <c:v>1</c:v>
                </c:pt>
                <c:pt idx="30">
                  <c:v>3</c:v>
                </c:pt>
                <c:pt idx="31">
                  <c:v>2</c:v>
                </c:pt>
                <c:pt idx="32">
                  <c:v>0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1</c:v>
                </c:pt>
                <c:pt idx="37">
                  <c:v>4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4</c:v>
                </c:pt>
                <c:pt idx="43">
                  <c:v>3</c:v>
                </c:pt>
                <c:pt idx="44">
                  <c:v>1</c:v>
                </c:pt>
                <c:pt idx="45">
                  <c:v>4</c:v>
                </c:pt>
                <c:pt idx="46">
                  <c:v>1</c:v>
                </c:pt>
                <c:pt idx="47">
                  <c:v>0</c:v>
                </c:pt>
                <c:pt idx="48">
                  <c:v>8</c:v>
                </c:pt>
                <c:pt idx="49">
                  <c:v>1</c:v>
                </c:pt>
                <c:pt idx="50">
                  <c:v>1</c:v>
                </c:pt>
                <c:pt idx="51">
                  <c:v>2</c:v>
                </c:pt>
                <c:pt idx="52">
                  <c:v>7</c:v>
                </c:pt>
                <c:pt idx="53">
                  <c:v>2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0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3</c:v>
                </c:pt>
                <c:pt idx="64">
                  <c:v>5</c:v>
                </c:pt>
                <c:pt idx="65">
                  <c:v>2</c:v>
                </c:pt>
                <c:pt idx="66">
                  <c:v>2</c:v>
                </c:pt>
                <c:pt idx="67">
                  <c:v>0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5</c:v>
                </c:pt>
                <c:pt idx="73">
                  <c:v>6</c:v>
                </c:pt>
                <c:pt idx="74">
                  <c:v>5</c:v>
                </c:pt>
                <c:pt idx="75">
                  <c:v>1</c:v>
                </c:pt>
                <c:pt idx="76">
                  <c:v>5</c:v>
                </c:pt>
                <c:pt idx="77">
                  <c:v>4</c:v>
                </c:pt>
                <c:pt idx="78">
                  <c:v>1</c:v>
                </c:pt>
                <c:pt idx="79">
                  <c:v>3</c:v>
                </c:pt>
                <c:pt idx="80">
                  <c:v>2</c:v>
                </c:pt>
                <c:pt idx="81">
                  <c:v>0</c:v>
                </c:pt>
                <c:pt idx="82">
                  <c:v>3</c:v>
                </c:pt>
                <c:pt idx="83">
                  <c:v>2</c:v>
                </c:pt>
                <c:pt idx="84">
                  <c:v>3</c:v>
                </c:pt>
                <c:pt idx="85">
                  <c:v>5</c:v>
                </c:pt>
                <c:pt idx="86">
                  <c:v>7</c:v>
                </c:pt>
                <c:pt idx="87">
                  <c:v>4</c:v>
                </c:pt>
                <c:pt idx="88">
                  <c:v>2</c:v>
                </c:pt>
                <c:pt idx="89">
                  <c:v>6</c:v>
                </c:pt>
                <c:pt idx="90">
                  <c:v>8</c:v>
                </c:pt>
                <c:pt idx="91">
                  <c:v>9</c:v>
                </c:pt>
                <c:pt idx="92">
                  <c:v>8</c:v>
                </c:pt>
                <c:pt idx="93">
                  <c:v>7</c:v>
                </c:pt>
                <c:pt idx="94">
                  <c:v>5</c:v>
                </c:pt>
                <c:pt idx="95">
                  <c:v>4</c:v>
                </c:pt>
                <c:pt idx="96">
                  <c:v>2</c:v>
                </c:pt>
                <c:pt idx="97">
                  <c:v>8</c:v>
                </c:pt>
                <c:pt idx="98">
                  <c:v>6</c:v>
                </c:pt>
                <c:pt idx="99">
                  <c:v>9</c:v>
                </c:pt>
                <c:pt idx="100">
                  <c:v>12</c:v>
                </c:pt>
                <c:pt idx="101">
                  <c:v>11</c:v>
                </c:pt>
                <c:pt idx="102">
                  <c:v>4</c:v>
                </c:pt>
                <c:pt idx="103">
                  <c:v>7</c:v>
                </c:pt>
                <c:pt idx="104">
                  <c:v>10</c:v>
                </c:pt>
                <c:pt idx="105">
                  <c:v>13</c:v>
                </c:pt>
                <c:pt idx="106">
                  <c:v>13</c:v>
                </c:pt>
                <c:pt idx="107">
                  <c:v>16</c:v>
                </c:pt>
                <c:pt idx="108">
                  <c:v>10</c:v>
                </c:pt>
                <c:pt idx="109">
                  <c:v>8</c:v>
                </c:pt>
                <c:pt idx="110">
                  <c:v>5</c:v>
                </c:pt>
                <c:pt idx="111">
                  <c:v>19</c:v>
                </c:pt>
                <c:pt idx="112">
                  <c:v>31</c:v>
                </c:pt>
                <c:pt idx="113">
                  <c:v>18</c:v>
                </c:pt>
                <c:pt idx="114">
                  <c:v>19</c:v>
                </c:pt>
                <c:pt idx="115">
                  <c:v>14</c:v>
                </c:pt>
                <c:pt idx="116">
                  <c:v>9</c:v>
                </c:pt>
                <c:pt idx="117">
                  <c:v>13</c:v>
                </c:pt>
                <c:pt idx="118">
                  <c:v>39</c:v>
                </c:pt>
                <c:pt idx="119">
                  <c:v>55</c:v>
                </c:pt>
                <c:pt idx="120">
                  <c:v>50</c:v>
                </c:pt>
                <c:pt idx="121">
                  <c:v>54</c:v>
                </c:pt>
                <c:pt idx="122">
                  <c:v>46</c:v>
                </c:pt>
                <c:pt idx="123">
                  <c:v>28</c:v>
                </c:pt>
                <c:pt idx="124">
                  <c:v>22</c:v>
                </c:pt>
                <c:pt idx="125">
                  <c:v>81</c:v>
                </c:pt>
                <c:pt idx="126">
                  <c:v>87</c:v>
                </c:pt>
                <c:pt idx="127">
                  <c:v>65</c:v>
                </c:pt>
                <c:pt idx="128">
                  <c:v>41</c:v>
                </c:pt>
                <c:pt idx="129">
                  <c:v>83</c:v>
                </c:pt>
                <c:pt idx="130">
                  <c:v>56</c:v>
                </c:pt>
                <c:pt idx="131">
                  <c:v>42</c:v>
                </c:pt>
                <c:pt idx="132">
                  <c:v>136</c:v>
                </c:pt>
                <c:pt idx="133">
                  <c:v>128</c:v>
                </c:pt>
                <c:pt idx="134">
                  <c:v>107</c:v>
                </c:pt>
                <c:pt idx="135">
                  <c:v>116</c:v>
                </c:pt>
                <c:pt idx="136">
                  <c:v>133</c:v>
                </c:pt>
                <c:pt idx="137">
                  <c:v>55</c:v>
                </c:pt>
                <c:pt idx="138">
                  <c:v>39</c:v>
                </c:pt>
                <c:pt idx="139">
                  <c:v>129</c:v>
                </c:pt>
                <c:pt idx="140">
                  <c:v>150</c:v>
                </c:pt>
                <c:pt idx="141">
                  <c:v>144</c:v>
                </c:pt>
                <c:pt idx="142">
                  <c:v>121</c:v>
                </c:pt>
                <c:pt idx="143">
                  <c:v>170</c:v>
                </c:pt>
                <c:pt idx="144">
                  <c:v>97</c:v>
                </c:pt>
                <c:pt idx="145">
                  <c:v>53</c:v>
                </c:pt>
                <c:pt idx="146">
                  <c:v>166</c:v>
                </c:pt>
                <c:pt idx="147">
                  <c:v>201</c:v>
                </c:pt>
                <c:pt idx="148">
                  <c:v>144</c:v>
                </c:pt>
                <c:pt idx="149">
                  <c:v>166</c:v>
                </c:pt>
                <c:pt idx="150">
                  <c:v>257</c:v>
                </c:pt>
                <c:pt idx="151">
                  <c:v>125</c:v>
                </c:pt>
                <c:pt idx="152">
                  <c:v>91</c:v>
                </c:pt>
                <c:pt idx="153">
                  <c:v>205</c:v>
                </c:pt>
                <c:pt idx="154">
                  <c:v>216</c:v>
                </c:pt>
                <c:pt idx="155">
                  <c:v>184</c:v>
                </c:pt>
                <c:pt idx="156">
                  <c:v>262</c:v>
                </c:pt>
                <c:pt idx="157">
                  <c:v>158</c:v>
                </c:pt>
                <c:pt idx="158">
                  <c:v>117</c:v>
                </c:pt>
                <c:pt idx="159">
                  <c:v>83</c:v>
                </c:pt>
                <c:pt idx="160">
                  <c:v>210</c:v>
                </c:pt>
                <c:pt idx="161">
                  <c:v>193</c:v>
                </c:pt>
                <c:pt idx="162">
                  <c:v>171</c:v>
                </c:pt>
                <c:pt idx="163">
                  <c:v>131</c:v>
                </c:pt>
                <c:pt idx="164">
                  <c:v>161</c:v>
                </c:pt>
                <c:pt idx="165">
                  <c:v>100</c:v>
                </c:pt>
                <c:pt idx="166">
                  <c:v>66</c:v>
                </c:pt>
                <c:pt idx="167">
                  <c:v>199</c:v>
                </c:pt>
                <c:pt idx="168">
                  <c:v>168</c:v>
                </c:pt>
                <c:pt idx="169">
                  <c:v>142</c:v>
                </c:pt>
                <c:pt idx="170">
                  <c:v>116</c:v>
                </c:pt>
                <c:pt idx="171">
                  <c:v>99</c:v>
                </c:pt>
                <c:pt idx="172">
                  <c:v>78</c:v>
                </c:pt>
                <c:pt idx="173">
                  <c:v>62</c:v>
                </c:pt>
                <c:pt idx="174">
                  <c:v>122</c:v>
                </c:pt>
                <c:pt idx="175">
                  <c:v>172</c:v>
                </c:pt>
                <c:pt idx="176">
                  <c:v>97</c:v>
                </c:pt>
                <c:pt idx="177">
                  <c:v>89</c:v>
                </c:pt>
                <c:pt idx="178">
                  <c:v>97</c:v>
                </c:pt>
                <c:pt idx="179">
                  <c:v>64</c:v>
                </c:pt>
                <c:pt idx="180">
                  <c:v>43</c:v>
                </c:pt>
                <c:pt idx="181">
                  <c:v>106</c:v>
                </c:pt>
                <c:pt idx="182">
                  <c:v>97</c:v>
                </c:pt>
                <c:pt idx="183">
                  <c:v>44</c:v>
                </c:pt>
                <c:pt idx="184">
                  <c:v>75</c:v>
                </c:pt>
                <c:pt idx="185">
                  <c:v>22</c:v>
                </c:pt>
                <c:pt idx="186">
                  <c:v>14</c:v>
                </c:pt>
                <c:pt idx="187">
                  <c:v>22</c:v>
                </c:pt>
                <c:pt idx="188">
                  <c:v>70</c:v>
                </c:pt>
                <c:pt idx="189">
                  <c:v>95</c:v>
                </c:pt>
                <c:pt idx="190">
                  <c:v>67</c:v>
                </c:pt>
                <c:pt idx="191">
                  <c:v>66</c:v>
                </c:pt>
                <c:pt idx="192">
                  <c:v>76</c:v>
                </c:pt>
                <c:pt idx="193">
                  <c:v>15</c:v>
                </c:pt>
                <c:pt idx="194">
                  <c:v>27</c:v>
                </c:pt>
                <c:pt idx="195">
                  <c:v>100</c:v>
                </c:pt>
                <c:pt idx="196">
                  <c:v>96</c:v>
                </c:pt>
                <c:pt idx="197">
                  <c:v>84</c:v>
                </c:pt>
                <c:pt idx="198">
                  <c:v>78</c:v>
                </c:pt>
                <c:pt idx="199">
                  <c:v>76</c:v>
                </c:pt>
                <c:pt idx="200">
                  <c:v>35</c:v>
                </c:pt>
                <c:pt idx="201">
                  <c:v>29</c:v>
                </c:pt>
                <c:pt idx="202">
                  <c:v>84</c:v>
                </c:pt>
                <c:pt idx="203">
                  <c:v>116</c:v>
                </c:pt>
                <c:pt idx="204">
                  <c:v>114</c:v>
                </c:pt>
                <c:pt idx="205">
                  <c:v>93</c:v>
                </c:pt>
                <c:pt idx="206">
                  <c:v>108</c:v>
                </c:pt>
                <c:pt idx="207">
                  <c:v>79</c:v>
                </c:pt>
                <c:pt idx="208">
                  <c:v>69</c:v>
                </c:pt>
                <c:pt idx="209">
                  <c:v>216</c:v>
                </c:pt>
                <c:pt idx="210">
                  <c:v>247</c:v>
                </c:pt>
                <c:pt idx="211">
                  <c:v>299</c:v>
                </c:pt>
                <c:pt idx="212">
                  <c:v>299</c:v>
                </c:pt>
                <c:pt idx="213">
                  <c:v>264</c:v>
                </c:pt>
                <c:pt idx="214">
                  <c:v>177</c:v>
                </c:pt>
                <c:pt idx="215">
                  <c:v>166</c:v>
                </c:pt>
                <c:pt idx="216">
                  <c:v>362</c:v>
                </c:pt>
                <c:pt idx="217">
                  <c:v>355</c:v>
                </c:pt>
                <c:pt idx="218">
                  <c:v>438</c:v>
                </c:pt>
                <c:pt idx="219">
                  <c:v>647</c:v>
                </c:pt>
                <c:pt idx="220">
                  <c:v>537</c:v>
                </c:pt>
                <c:pt idx="221">
                  <c:v>220</c:v>
                </c:pt>
                <c:pt idx="222">
                  <c:v>238</c:v>
                </c:pt>
                <c:pt idx="223">
                  <c:v>515</c:v>
                </c:pt>
                <c:pt idx="224">
                  <c:v>648</c:v>
                </c:pt>
                <c:pt idx="225">
                  <c:v>509</c:v>
                </c:pt>
                <c:pt idx="226">
                  <c:v>481</c:v>
                </c:pt>
                <c:pt idx="227">
                  <c:v>4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10">
                  <c:v>0.32531480000000002</c:v>
                </c:pt>
                <c:pt idx="11">
                  <c:v>0.65062969999999998</c:v>
                </c:pt>
                <c:pt idx="12">
                  <c:v>5.3676952</c:v>
                </c:pt>
                <c:pt idx="13">
                  <c:v>8.4579388000000009</c:v>
                </c:pt>
                <c:pt idx="14">
                  <c:v>11.861702299999999</c:v>
                </c:pt>
                <c:pt idx="15">
                  <c:v>10.5464351</c:v>
                </c:pt>
                <c:pt idx="16">
                  <c:v>8.4249001000000003</c:v>
                </c:pt>
                <c:pt idx="17">
                  <c:v>3.0738666000000001</c:v>
                </c:pt>
                <c:pt idx="18">
                  <c:v>3.7169674000000001</c:v>
                </c:pt>
                <c:pt idx="19">
                  <c:v>0.96943840000000003</c:v>
                </c:pt>
                <c:pt idx="20">
                  <c:v>0.64617530000000001</c:v>
                </c:pt>
                <c:pt idx="21">
                  <c:v>0.64605840000000003</c:v>
                </c:pt>
                <c:pt idx="22">
                  <c:v>1.6148358</c:v>
                </c:pt>
                <c:pt idx="23">
                  <c:v>2.9059770999999999</c:v>
                </c:pt>
                <c:pt idx="24">
                  <c:v>1.4526109</c:v>
                </c:pt>
                <c:pt idx="25">
                  <c:v>1.9363113999999999</c:v>
                </c:pt>
                <c:pt idx="26">
                  <c:v>1.4518517</c:v>
                </c:pt>
                <c:pt idx="27">
                  <c:v>1.9354058000000001</c:v>
                </c:pt>
                <c:pt idx="28">
                  <c:v>3.0639873</c:v>
                </c:pt>
                <c:pt idx="29">
                  <c:v>3.2248285999999999</c:v>
                </c:pt>
                <c:pt idx="30">
                  <c:v>3.8692826999999999</c:v>
                </c:pt>
                <c:pt idx="31">
                  <c:v>3.8684718999999999</c:v>
                </c:pt>
                <c:pt idx="32">
                  <c:v>5.3171777000000002</c:v>
                </c:pt>
                <c:pt idx="33">
                  <c:v>7.7311617000000004</c:v>
                </c:pt>
                <c:pt idx="34">
                  <c:v>6.6012019999999998</c:v>
                </c:pt>
                <c:pt idx="35">
                  <c:v>5.7936401000000002</c:v>
                </c:pt>
                <c:pt idx="36">
                  <c:v>17.5209045</c:v>
                </c:pt>
                <c:pt idx="37">
                  <c:v>32.745519100000003</c:v>
                </c:pt>
                <c:pt idx="38">
                  <c:v>44.401129699999998</c:v>
                </c:pt>
                <c:pt idx="39">
                  <c:v>52.8227349</c:v>
                </c:pt>
                <c:pt idx="40">
                  <c:v>112.34626299999999</c:v>
                </c:pt>
                <c:pt idx="41">
                  <c:v>193.88937290000001</c:v>
                </c:pt>
                <c:pt idx="42">
                  <c:v>346.26943679999999</c:v>
                </c:pt>
                <c:pt idx="43">
                  <c:v>395.10093920000003</c:v>
                </c:pt>
                <c:pt idx="44">
                  <c:v>349.70199100000002</c:v>
                </c:pt>
                <c:pt idx="45">
                  <c:v>229.236243</c:v>
                </c:pt>
                <c:pt idx="46">
                  <c:v>156.31426089999999</c:v>
                </c:pt>
                <c:pt idx="47">
                  <c:v>129.32834009999999</c:v>
                </c:pt>
                <c:pt idx="48">
                  <c:v>108.95664240000001</c:v>
                </c:pt>
                <c:pt idx="49">
                  <c:v>129.95512339999999</c:v>
                </c:pt>
                <c:pt idx="50">
                  <c:v>140.81945730000001</c:v>
                </c:pt>
                <c:pt idx="51">
                  <c:v>180.62183519999999</c:v>
                </c:pt>
                <c:pt idx="52">
                  <c:v>189.44929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87-4662-BB8A-7C8E4F3CFE2C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59.460745000000003</c:v>
                </c:pt>
                <c:pt idx="1">
                  <c:v>246.09690000000001</c:v>
                </c:pt>
                <c:pt idx="2">
                  <c:v>172.33731119999999</c:v>
                </c:pt>
                <c:pt idx="3">
                  <c:v>136.54589899999999</c:v>
                </c:pt>
                <c:pt idx="4">
                  <c:v>115.1079136</c:v>
                </c:pt>
                <c:pt idx="5">
                  <c:v>96.904924800000003</c:v>
                </c:pt>
                <c:pt idx="6">
                  <c:v>104.0928739</c:v>
                </c:pt>
                <c:pt idx="7">
                  <c:v>102.3003631</c:v>
                </c:pt>
                <c:pt idx="8">
                  <c:v>113.69470560000001</c:v>
                </c:pt>
                <c:pt idx="9">
                  <c:v>131.7445366</c:v>
                </c:pt>
                <c:pt idx="10">
                  <c:v>106.19496460000001</c:v>
                </c:pt>
                <c:pt idx="11">
                  <c:v>93.212373999999997</c:v>
                </c:pt>
                <c:pt idx="12">
                  <c:v>62.168185000000001</c:v>
                </c:pt>
                <c:pt idx="13">
                  <c:v>47.417008600000003</c:v>
                </c:pt>
                <c:pt idx="14">
                  <c:v>29.129715000000001</c:v>
                </c:pt>
                <c:pt idx="15">
                  <c:v>23.983359199999999</c:v>
                </c:pt>
                <c:pt idx="16">
                  <c:v>18.862687300000001</c:v>
                </c:pt>
                <c:pt idx="17">
                  <c:v>13.767572700000001</c:v>
                </c:pt>
                <c:pt idx="18">
                  <c:v>12.06654</c:v>
                </c:pt>
                <c:pt idx="19">
                  <c:v>9.6269039000000003</c:v>
                </c:pt>
                <c:pt idx="20">
                  <c:v>6.1153101999999997</c:v>
                </c:pt>
                <c:pt idx="21">
                  <c:v>2.4473288000000002</c:v>
                </c:pt>
                <c:pt idx="22">
                  <c:v>1.5302616</c:v>
                </c:pt>
                <c:pt idx="23">
                  <c:v>1.3774736999999999</c:v>
                </c:pt>
                <c:pt idx="24">
                  <c:v>0.61228919999999998</c:v>
                </c:pt>
                <c:pt idx="25">
                  <c:v>1.2247359</c:v>
                </c:pt>
                <c:pt idx="26">
                  <c:v>0.61243919999999996</c:v>
                </c:pt>
                <c:pt idx="27">
                  <c:v>1.2244416</c:v>
                </c:pt>
                <c:pt idx="28">
                  <c:v>1.9885246000000001</c:v>
                </c:pt>
                <c:pt idx="29">
                  <c:v>3.0574680999999999</c:v>
                </c:pt>
                <c:pt idx="30">
                  <c:v>2.2917277</c:v>
                </c:pt>
                <c:pt idx="31">
                  <c:v>1.8332504999999999</c:v>
                </c:pt>
                <c:pt idx="32">
                  <c:v>2.2940374000000001</c:v>
                </c:pt>
                <c:pt idx="33">
                  <c:v>1.8372698999999999</c:v>
                </c:pt>
                <c:pt idx="34">
                  <c:v>2.7589758</c:v>
                </c:pt>
                <c:pt idx="35">
                  <c:v>1.6878439000000001</c:v>
                </c:pt>
                <c:pt idx="36">
                  <c:v>3.8379229000000001</c:v>
                </c:pt>
                <c:pt idx="37">
                  <c:v>3.3785183999999999</c:v>
                </c:pt>
                <c:pt idx="38">
                  <c:v>6.2984577000000002</c:v>
                </c:pt>
                <c:pt idx="39">
                  <c:v>6.7616161000000004</c:v>
                </c:pt>
                <c:pt idx="40">
                  <c:v>10.455956499999999</c:v>
                </c:pt>
                <c:pt idx="41">
                  <c:v>16.002535699999999</c:v>
                </c:pt>
                <c:pt idx="42">
                  <c:v>35.106844899999999</c:v>
                </c:pt>
                <c:pt idx="43">
                  <c:v>53.621368400000001</c:v>
                </c:pt>
                <c:pt idx="44">
                  <c:v>98.370260700000003</c:v>
                </c:pt>
                <c:pt idx="45">
                  <c:v>113.3860308</c:v>
                </c:pt>
                <c:pt idx="46">
                  <c:v>146.1656595</c:v>
                </c:pt>
                <c:pt idx="47">
                  <c:v>194.88511500000001</c:v>
                </c:pt>
                <c:pt idx="48">
                  <c:v>152.498142</c:v>
                </c:pt>
                <c:pt idx="49">
                  <c:v>137.41784290000001</c:v>
                </c:pt>
                <c:pt idx="50">
                  <c:v>104.22175420000001</c:v>
                </c:pt>
                <c:pt idx="51">
                  <c:v>75.487575399999997</c:v>
                </c:pt>
                <c:pt idx="52">
                  <c:v>50.9106663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87-4662-BB8A-7C8E4F3CFE2C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7D87-4662-BB8A-7C8E4F3CFE2C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13.0068611</c:v>
                </c:pt>
                <c:pt idx="1">
                  <c:v>65.613540799999996</c:v>
                </c:pt>
                <c:pt idx="2">
                  <c:v>80.285417699999996</c:v>
                </c:pt>
                <c:pt idx="3">
                  <c:v>188.5352465</c:v>
                </c:pt>
                <c:pt idx="4">
                  <c:v>302.6213616</c:v>
                </c:pt>
                <c:pt idx="5">
                  <c:v>311.3167725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D87-4662-BB8A-7C8E4F3CFE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62</c:f>
              <c:numCache>
                <c:formatCode>m/d/yyyy</c:formatCode>
                <c:ptCount val="228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  <c:pt idx="200">
                  <c:v>44569</c:v>
                </c:pt>
                <c:pt idx="201">
                  <c:v>44570</c:v>
                </c:pt>
                <c:pt idx="202">
                  <c:v>44571</c:v>
                </c:pt>
                <c:pt idx="203">
                  <c:v>44572</c:v>
                </c:pt>
                <c:pt idx="204">
                  <c:v>44573</c:v>
                </c:pt>
                <c:pt idx="205">
                  <c:v>44574</c:v>
                </c:pt>
                <c:pt idx="206">
                  <c:v>44575</c:v>
                </c:pt>
                <c:pt idx="207">
                  <c:v>44576</c:v>
                </c:pt>
                <c:pt idx="208">
                  <c:v>44577</c:v>
                </c:pt>
                <c:pt idx="209">
                  <c:v>44578</c:v>
                </c:pt>
                <c:pt idx="210">
                  <c:v>44579</c:v>
                </c:pt>
                <c:pt idx="211">
                  <c:v>44580</c:v>
                </c:pt>
                <c:pt idx="212">
                  <c:v>44581</c:v>
                </c:pt>
                <c:pt idx="213">
                  <c:v>44582</c:v>
                </c:pt>
                <c:pt idx="214">
                  <c:v>44583</c:v>
                </c:pt>
                <c:pt idx="215">
                  <c:v>44584</c:v>
                </c:pt>
                <c:pt idx="216">
                  <c:v>44585</c:v>
                </c:pt>
                <c:pt idx="217">
                  <c:v>44586</c:v>
                </c:pt>
                <c:pt idx="218">
                  <c:v>44587</c:v>
                </c:pt>
                <c:pt idx="219">
                  <c:v>44588</c:v>
                </c:pt>
                <c:pt idx="220">
                  <c:v>44589</c:v>
                </c:pt>
                <c:pt idx="221">
                  <c:v>44590</c:v>
                </c:pt>
                <c:pt idx="222">
                  <c:v>44591</c:v>
                </c:pt>
                <c:pt idx="223">
                  <c:v>44592</c:v>
                </c:pt>
                <c:pt idx="224">
                  <c:v>44593</c:v>
                </c:pt>
                <c:pt idx="225">
                  <c:v>44594</c:v>
                </c:pt>
                <c:pt idx="226">
                  <c:v>44595</c:v>
                </c:pt>
                <c:pt idx="227">
                  <c:v>44596</c:v>
                </c:pt>
              </c:numCache>
            </c:numRef>
          </c:cat>
          <c:val>
            <c:numRef>
              <c:f>Sheet1!$B$135:$B$362</c:f>
              <c:numCache>
                <c:formatCode>General</c:formatCode>
                <c:ptCount val="228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6</c:v>
                </c:pt>
                <c:pt idx="6">
                  <c:v>3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2</c:v>
                </c:pt>
                <c:pt idx="14">
                  <c:v>4</c:v>
                </c:pt>
                <c:pt idx="15">
                  <c:v>1</c:v>
                </c:pt>
                <c:pt idx="16">
                  <c:v>1</c:v>
                </c:pt>
                <c:pt idx="17">
                  <c:v>5</c:v>
                </c:pt>
                <c:pt idx="18">
                  <c:v>7</c:v>
                </c:pt>
                <c:pt idx="19">
                  <c:v>1</c:v>
                </c:pt>
                <c:pt idx="20">
                  <c:v>7</c:v>
                </c:pt>
                <c:pt idx="21">
                  <c:v>4</c:v>
                </c:pt>
                <c:pt idx="22">
                  <c:v>7</c:v>
                </c:pt>
                <c:pt idx="23">
                  <c:v>5</c:v>
                </c:pt>
                <c:pt idx="24">
                  <c:v>8</c:v>
                </c:pt>
                <c:pt idx="25">
                  <c:v>3</c:v>
                </c:pt>
                <c:pt idx="26">
                  <c:v>4</c:v>
                </c:pt>
                <c:pt idx="27">
                  <c:v>11</c:v>
                </c:pt>
                <c:pt idx="28">
                  <c:v>8</c:v>
                </c:pt>
                <c:pt idx="29">
                  <c:v>7</c:v>
                </c:pt>
                <c:pt idx="30">
                  <c:v>7</c:v>
                </c:pt>
                <c:pt idx="31">
                  <c:v>6</c:v>
                </c:pt>
                <c:pt idx="32">
                  <c:v>1</c:v>
                </c:pt>
                <c:pt idx="33">
                  <c:v>4</c:v>
                </c:pt>
                <c:pt idx="34">
                  <c:v>9</c:v>
                </c:pt>
                <c:pt idx="35">
                  <c:v>5</c:v>
                </c:pt>
                <c:pt idx="36">
                  <c:v>2</c:v>
                </c:pt>
                <c:pt idx="37">
                  <c:v>8</c:v>
                </c:pt>
                <c:pt idx="38">
                  <c:v>5</c:v>
                </c:pt>
                <c:pt idx="39">
                  <c:v>2</c:v>
                </c:pt>
                <c:pt idx="40">
                  <c:v>1</c:v>
                </c:pt>
                <c:pt idx="41">
                  <c:v>2</c:v>
                </c:pt>
                <c:pt idx="42">
                  <c:v>6</c:v>
                </c:pt>
                <c:pt idx="43">
                  <c:v>11</c:v>
                </c:pt>
                <c:pt idx="44">
                  <c:v>3</c:v>
                </c:pt>
                <c:pt idx="45">
                  <c:v>7</c:v>
                </c:pt>
                <c:pt idx="46">
                  <c:v>1</c:v>
                </c:pt>
                <c:pt idx="47">
                  <c:v>3</c:v>
                </c:pt>
                <c:pt idx="48">
                  <c:v>12</c:v>
                </c:pt>
                <c:pt idx="49">
                  <c:v>3</c:v>
                </c:pt>
                <c:pt idx="50">
                  <c:v>7</c:v>
                </c:pt>
                <c:pt idx="51">
                  <c:v>4</c:v>
                </c:pt>
                <c:pt idx="52">
                  <c:v>10</c:v>
                </c:pt>
                <c:pt idx="53">
                  <c:v>5</c:v>
                </c:pt>
                <c:pt idx="54">
                  <c:v>2</c:v>
                </c:pt>
                <c:pt idx="55">
                  <c:v>7</c:v>
                </c:pt>
                <c:pt idx="56">
                  <c:v>4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2</c:v>
                </c:pt>
                <c:pt idx="61">
                  <c:v>3</c:v>
                </c:pt>
                <c:pt idx="62">
                  <c:v>8</c:v>
                </c:pt>
                <c:pt idx="63">
                  <c:v>5</c:v>
                </c:pt>
                <c:pt idx="64">
                  <c:v>6</c:v>
                </c:pt>
                <c:pt idx="65">
                  <c:v>5</c:v>
                </c:pt>
                <c:pt idx="66">
                  <c:v>4</c:v>
                </c:pt>
                <c:pt idx="67">
                  <c:v>3</c:v>
                </c:pt>
                <c:pt idx="68">
                  <c:v>2</c:v>
                </c:pt>
                <c:pt idx="69">
                  <c:v>1</c:v>
                </c:pt>
                <c:pt idx="70">
                  <c:v>7</c:v>
                </c:pt>
                <c:pt idx="71">
                  <c:v>7</c:v>
                </c:pt>
                <c:pt idx="72">
                  <c:v>12</c:v>
                </c:pt>
                <c:pt idx="73">
                  <c:v>13</c:v>
                </c:pt>
                <c:pt idx="74">
                  <c:v>9</c:v>
                </c:pt>
                <c:pt idx="75">
                  <c:v>3</c:v>
                </c:pt>
                <c:pt idx="76">
                  <c:v>7</c:v>
                </c:pt>
                <c:pt idx="77">
                  <c:v>12</c:v>
                </c:pt>
                <c:pt idx="78">
                  <c:v>2</c:v>
                </c:pt>
                <c:pt idx="79">
                  <c:v>7</c:v>
                </c:pt>
                <c:pt idx="80">
                  <c:v>5</c:v>
                </c:pt>
                <c:pt idx="81">
                  <c:v>4</c:v>
                </c:pt>
                <c:pt idx="82">
                  <c:v>5</c:v>
                </c:pt>
                <c:pt idx="83">
                  <c:v>9</c:v>
                </c:pt>
                <c:pt idx="84">
                  <c:v>10</c:v>
                </c:pt>
                <c:pt idx="85">
                  <c:v>8</c:v>
                </c:pt>
                <c:pt idx="86">
                  <c:v>16</c:v>
                </c:pt>
                <c:pt idx="87">
                  <c:v>12</c:v>
                </c:pt>
                <c:pt idx="88">
                  <c:v>5</c:v>
                </c:pt>
                <c:pt idx="89">
                  <c:v>9</c:v>
                </c:pt>
                <c:pt idx="90">
                  <c:v>18</c:v>
                </c:pt>
                <c:pt idx="91">
                  <c:v>19</c:v>
                </c:pt>
                <c:pt idx="92">
                  <c:v>17</c:v>
                </c:pt>
                <c:pt idx="93">
                  <c:v>14</c:v>
                </c:pt>
                <c:pt idx="94">
                  <c:v>15</c:v>
                </c:pt>
                <c:pt idx="95">
                  <c:v>10</c:v>
                </c:pt>
                <c:pt idx="96">
                  <c:v>10</c:v>
                </c:pt>
                <c:pt idx="97">
                  <c:v>19</c:v>
                </c:pt>
                <c:pt idx="98">
                  <c:v>19</c:v>
                </c:pt>
                <c:pt idx="99">
                  <c:v>24</c:v>
                </c:pt>
                <c:pt idx="100">
                  <c:v>37</c:v>
                </c:pt>
                <c:pt idx="101">
                  <c:v>21</c:v>
                </c:pt>
                <c:pt idx="102">
                  <c:v>14</c:v>
                </c:pt>
                <c:pt idx="103">
                  <c:v>16</c:v>
                </c:pt>
                <c:pt idx="104">
                  <c:v>20</c:v>
                </c:pt>
                <c:pt idx="105">
                  <c:v>28</c:v>
                </c:pt>
                <c:pt idx="106">
                  <c:v>27</c:v>
                </c:pt>
                <c:pt idx="107">
                  <c:v>30</c:v>
                </c:pt>
                <c:pt idx="108">
                  <c:v>25</c:v>
                </c:pt>
                <c:pt idx="109">
                  <c:v>14</c:v>
                </c:pt>
                <c:pt idx="110">
                  <c:v>10</c:v>
                </c:pt>
                <c:pt idx="111">
                  <c:v>40</c:v>
                </c:pt>
                <c:pt idx="112">
                  <c:v>60</c:v>
                </c:pt>
                <c:pt idx="113">
                  <c:v>47</c:v>
                </c:pt>
                <c:pt idx="114">
                  <c:v>47</c:v>
                </c:pt>
                <c:pt idx="115">
                  <c:v>37</c:v>
                </c:pt>
                <c:pt idx="116">
                  <c:v>24</c:v>
                </c:pt>
                <c:pt idx="117">
                  <c:v>31</c:v>
                </c:pt>
                <c:pt idx="118">
                  <c:v>91</c:v>
                </c:pt>
                <c:pt idx="119">
                  <c:v>101</c:v>
                </c:pt>
                <c:pt idx="120">
                  <c:v>89</c:v>
                </c:pt>
                <c:pt idx="121">
                  <c:v>120</c:v>
                </c:pt>
                <c:pt idx="122">
                  <c:v>106</c:v>
                </c:pt>
                <c:pt idx="123">
                  <c:v>77</c:v>
                </c:pt>
                <c:pt idx="124">
                  <c:v>45</c:v>
                </c:pt>
                <c:pt idx="125">
                  <c:v>174</c:v>
                </c:pt>
                <c:pt idx="126">
                  <c:v>175</c:v>
                </c:pt>
                <c:pt idx="127">
                  <c:v>165</c:v>
                </c:pt>
                <c:pt idx="128">
                  <c:v>98</c:v>
                </c:pt>
                <c:pt idx="129">
                  <c:v>203</c:v>
                </c:pt>
                <c:pt idx="130">
                  <c:v>141</c:v>
                </c:pt>
                <c:pt idx="131">
                  <c:v>97</c:v>
                </c:pt>
                <c:pt idx="132">
                  <c:v>304</c:v>
                </c:pt>
                <c:pt idx="133">
                  <c:v>271</c:v>
                </c:pt>
                <c:pt idx="134">
                  <c:v>263</c:v>
                </c:pt>
                <c:pt idx="135">
                  <c:v>246</c:v>
                </c:pt>
                <c:pt idx="136">
                  <c:v>286</c:v>
                </c:pt>
                <c:pt idx="137">
                  <c:v>159</c:v>
                </c:pt>
                <c:pt idx="138">
                  <c:v>86</c:v>
                </c:pt>
                <c:pt idx="139">
                  <c:v>316</c:v>
                </c:pt>
                <c:pt idx="140">
                  <c:v>343</c:v>
                </c:pt>
                <c:pt idx="141">
                  <c:v>360</c:v>
                </c:pt>
                <c:pt idx="142">
                  <c:v>267</c:v>
                </c:pt>
                <c:pt idx="143">
                  <c:v>376</c:v>
                </c:pt>
                <c:pt idx="144">
                  <c:v>244</c:v>
                </c:pt>
                <c:pt idx="145">
                  <c:v>130</c:v>
                </c:pt>
                <c:pt idx="146">
                  <c:v>391</c:v>
                </c:pt>
                <c:pt idx="147">
                  <c:v>492</c:v>
                </c:pt>
                <c:pt idx="148">
                  <c:v>309</c:v>
                </c:pt>
                <c:pt idx="149">
                  <c:v>391</c:v>
                </c:pt>
                <c:pt idx="150">
                  <c:v>577</c:v>
                </c:pt>
                <c:pt idx="151">
                  <c:v>329</c:v>
                </c:pt>
                <c:pt idx="152">
                  <c:v>206</c:v>
                </c:pt>
                <c:pt idx="153">
                  <c:v>460</c:v>
                </c:pt>
                <c:pt idx="154">
                  <c:v>548</c:v>
                </c:pt>
                <c:pt idx="155">
                  <c:v>369</c:v>
                </c:pt>
                <c:pt idx="156">
                  <c:v>547</c:v>
                </c:pt>
                <c:pt idx="157">
                  <c:v>403</c:v>
                </c:pt>
                <c:pt idx="158">
                  <c:v>259</c:v>
                </c:pt>
                <c:pt idx="159">
                  <c:v>203</c:v>
                </c:pt>
                <c:pt idx="160">
                  <c:v>474</c:v>
                </c:pt>
                <c:pt idx="161">
                  <c:v>409</c:v>
                </c:pt>
                <c:pt idx="162">
                  <c:v>403</c:v>
                </c:pt>
                <c:pt idx="163">
                  <c:v>320</c:v>
                </c:pt>
                <c:pt idx="164">
                  <c:v>359</c:v>
                </c:pt>
                <c:pt idx="165">
                  <c:v>213</c:v>
                </c:pt>
                <c:pt idx="166">
                  <c:v>148</c:v>
                </c:pt>
                <c:pt idx="167">
                  <c:v>413</c:v>
                </c:pt>
                <c:pt idx="168">
                  <c:v>366</c:v>
                </c:pt>
                <c:pt idx="169">
                  <c:v>293</c:v>
                </c:pt>
                <c:pt idx="170">
                  <c:v>276</c:v>
                </c:pt>
                <c:pt idx="171">
                  <c:v>245</c:v>
                </c:pt>
                <c:pt idx="172">
                  <c:v>173</c:v>
                </c:pt>
                <c:pt idx="173">
                  <c:v>133</c:v>
                </c:pt>
                <c:pt idx="174">
                  <c:v>255</c:v>
                </c:pt>
                <c:pt idx="175">
                  <c:v>322</c:v>
                </c:pt>
                <c:pt idx="176">
                  <c:v>208</c:v>
                </c:pt>
                <c:pt idx="177">
                  <c:v>171</c:v>
                </c:pt>
                <c:pt idx="178">
                  <c:v>203</c:v>
                </c:pt>
                <c:pt idx="179">
                  <c:v>133</c:v>
                </c:pt>
                <c:pt idx="180">
                  <c:v>91</c:v>
                </c:pt>
                <c:pt idx="181">
                  <c:v>223</c:v>
                </c:pt>
                <c:pt idx="182">
                  <c:v>211</c:v>
                </c:pt>
                <c:pt idx="183">
                  <c:v>118</c:v>
                </c:pt>
                <c:pt idx="184">
                  <c:v>159</c:v>
                </c:pt>
                <c:pt idx="185">
                  <c:v>48</c:v>
                </c:pt>
                <c:pt idx="186">
                  <c:v>44</c:v>
                </c:pt>
                <c:pt idx="187">
                  <c:v>48</c:v>
                </c:pt>
                <c:pt idx="188">
                  <c:v>171</c:v>
                </c:pt>
                <c:pt idx="189">
                  <c:v>220</c:v>
                </c:pt>
                <c:pt idx="190">
                  <c:v>150</c:v>
                </c:pt>
                <c:pt idx="191">
                  <c:v>142</c:v>
                </c:pt>
                <c:pt idx="192">
                  <c:v>149</c:v>
                </c:pt>
                <c:pt idx="193">
                  <c:v>34</c:v>
                </c:pt>
                <c:pt idx="194">
                  <c:v>90</c:v>
                </c:pt>
                <c:pt idx="195">
                  <c:v>239</c:v>
                </c:pt>
                <c:pt idx="196">
                  <c:v>207</c:v>
                </c:pt>
                <c:pt idx="197">
                  <c:v>161</c:v>
                </c:pt>
                <c:pt idx="198">
                  <c:v>163</c:v>
                </c:pt>
                <c:pt idx="199">
                  <c:v>163</c:v>
                </c:pt>
                <c:pt idx="200">
                  <c:v>90</c:v>
                </c:pt>
                <c:pt idx="201">
                  <c:v>75</c:v>
                </c:pt>
                <c:pt idx="202">
                  <c:v>193</c:v>
                </c:pt>
                <c:pt idx="203">
                  <c:v>274</c:v>
                </c:pt>
                <c:pt idx="204">
                  <c:v>311</c:v>
                </c:pt>
                <c:pt idx="205">
                  <c:v>237</c:v>
                </c:pt>
                <c:pt idx="206">
                  <c:v>279</c:v>
                </c:pt>
                <c:pt idx="207">
                  <c:v>212</c:v>
                </c:pt>
                <c:pt idx="208">
                  <c:v>189</c:v>
                </c:pt>
                <c:pt idx="209">
                  <c:v>586</c:v>
                </c:pt>
                <c:pt idx="210">
                  <c:v>629</c:v>
                </c:pt>
                <c:pt idx="211">
                  <c:v>738</c:v>
                </c:pt>
                <c:pt idx="212">
                  <c:v>715</c:v>
                </c:pt>
                <c:pt idx="213">
                  <c:v>687</c:v>
                </c:pt>
                <c:pt idx="214">
                  <c:v>416</c:v>
                </c:pt>
                <c:pt idx="215">
                  <c:v>446</c:v>
                </c:pt>
                <c:pt idx="216">
                  <c:v>988</c:v>
                </c:pt>
                <c:pt idx="217">
                  <c:v>914</c:v>
                </c:pt>
                <c:pt idx="218">
                  <c:v>1063</c:v>
                </c:pt>
                <c:pt idx="219">
                  <c:v>1675</c:v>
                </c:pt>
                <c:pt idx="220">
                  <c:v>1346</c:v>
                </c:pt>
                <c:pt idx="221">
                  <c:v>510</c:v>
                </c:pt>
                <c:pt idx="222">
                  <c:v>680</c:v>
                </c:pt>
                <c:pt idx="223">
                  <c:v>1369</c:v>
                </c:pt>
                <c:pt idx="224">
                  <c:v>1603</c:v>
                </c:pt>
                <c:pt idx="225">
                  <c:v>1268</c:v>
                </c:pt>
                <c:pt idx="226">
                  <c:v>1182</c:v>
                </c:pt>
                <c:pt idx="227">
                  <c:v>9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0623174724366597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70</c:f>
              <c:numCache>
                <c:formatCode>m/d/yyyy</c:formatCode>
                <c:ptCount val="36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</c:numCache>
            </c:numRef>
          </c:cat>
          <c:val>
            <c:numRef>
              <c:f>List1!$B$2:$B$370</c:f>
              <c:numCache>
                <c:formatCode>General</c:formatCode>
                <c:ptCount val="369"/>
                <c:pt idx="0">
                  <c:v>18.539423053154</c:v>
                </c:pt>
                <c:pt idx="1">
                  <c:v>26.588010469029001</c:v>
                </c:pt>
                <c:pt idx="2">
                  <c:v>22.615811802940001</c:v>
                </c:pt>
                <c:pt idx="3">
                  <c:v>22.322274681907</c:v>
                </c:pt>
                <c:pt idx="4">
                  <c:v>19.438317148821</c:v>
                </c:pt>
                <c:pt idx="5">
                  <c:v>11.022787493375001</c:v>
                </c:pt>
                <c:pt idx="6">
                  <c:v>5.103624849549</c:v>
                </c:pt>
                <c:pt idx="7">
                  <c:v>23.649098969329</c:v>
                </c:pt>
                <c:pt idx="8">
                  <c:v>30.553009471431999</c:v>
                </c:pt>
                <c:pt idx="9">
                  <c:v>27.527783081069</c:v>
                </c:pt>
                <c:pt idx="10">
                  <c:v>22.662581358667001</c:v>
                </c:pt>
                <c:pt idx="11">
                  <c:v>26.970597398732</c:v>
                </c:pt>
                <c:pt idx="12">
                  <c:v>11.192568134758</c:v>
                </c:pt>
                <c:pt idx="13">
                  <c:v>8.4178233379470004</c:v>
                </c:pt>
                <c:pt idx="14">
                  <c:v>31.613737605977001</c:v>
                </c:pt>
                <c:pt idx="15">
                  <c:v>32.081813560241997</c:v>
                </c:pt>
                <c:pt idx="16">
                  <c:v>33.016040716397001</c:v>
                </c:pt>
                <c:pt idx="17">
                  <c:v>28.841111693759</c:v>
                </c:pt>
                <c:pt idx="18">
                  <c:v>31.234685579807</c:v>
                </c:pt>
                <c:pt idx="19">
                  <c:v>15.680422181849</c:v>
                </c:pt>
                <c:pt idx="20">
                  <c:v>7.5961454987410004</c:v>
                </c:pt>
                <c:pt idx="21">
                  <c:v>40.587123318136001</c:v>
                </c:pt>
                <c:pt idx="22">
                  <c:v>47.118130261761003</c:v>
                </c:pt>
                <c:pt idx="23">
                  <c:v>37.638175532868999</c:v>
                </c:pt>
                <c:pt idx="24">
                  <c:v>48.375012536207002</c:v>
                </c:pt>
                <c:pt idx="25">
                  <c:v>58.226434801399002</c:v>
                </c:pt>
                <c:pt idx="26">
                  <c:v>20.455434226754001</c:v>
                </c:pt>
                <c:pt idx="27">
                  <c:v>10.234551847035</c:v>
                </c:pt>
                <c:pt idx="28">
                  <c:v>62.160630381921997</c:v>
                </c:pt>
                <c:pt idx="29">
                  <c:v>62.768071974054997</c:v>
                </c:pt>
                <c:pt idx="30">
                  <c:v>53.958173112704003</c:v>
                </c:pt>
                <c:pt idx="31">
                  <c:v>43.801192643901999</c:v>
                </c:pt>
                <c:pt idx="32">
                  <c:v>51.088307084874998</c:v>
                </c:pt>
                <c:pt idx="33">
                  <c:v>22.084526949432</c:v>
                </c:pt>
                <c:pt idx="34">
                  <c:v>10.731374752231</c:v>
                </c:pt>
                <c:pt idx="35">
                  <c:v>49.515321183034999</c:v>
                </c:pt>
                <c:pt idx="36">
                  <c:v>53.684069252449</c:v>
                </c:pt>
                <c:pt idx="37">
                  <c:v>48.184101816218998</c:v>
                </c:pt>
                <c:pt idx="38">
                  <c:v>45.220514609456004</c:v>
                </c:pt>
                <c:pt idx="39">
                  <c:v>53.318074827365997</c:v>
                </c:pt>
                <c:pt idx="40">
                  <c:v>20.809353804535</c:v>
                </c:pt>
                <c:pt idx="41">
                  <c:v>7.8044212046119998</c:v>
                </c:pt>
                <c:pt idx="42">
                  <c:v>37.200438573591001</c:v>
                </c:pt>
                <c:pt idx="43">
                  <c:v>51.759495246642999</c:v>
                </c:pt>
                <c:pt idx="44">
                  <c:v>33.561021834404997</c:v>
                </c:pt>
                <c:pt idx="45">
                  <c:v>35.012849054983</c:v>
                </c:pt>
                <c:pt idx="46">
                  <c:v>30.566002631334001</c:v>
                </c:pt>
                <c:pt idx="47">
                  <c:v>11.960768678733</c:v>
                </c:pt>
                <c:pt idx="48">
                  <c:v>5.9809009895059999</c:v>
                </c:pt>
                <c:pt idx="49">
                  <c:v>44.762458327487003</c:v>
                </c:pt>
                <c:pt idx="50">
                  <c:v>32.899374911876002</c:v>
                </c:pt>
                <c:pt idx="51">
                  <c:v>24.981938733482998</c:v>
                </c:pt>
                <c:pt idx="52">
                  <c:v>27.917364600780999</c:v>
                </c:pt>
                <c:pt idx="53">
                  <c:v>23.373641407093</c:v>
                </c:pt>
                <c:pt idx="54">
                  <c:v>11.010866348726999</c:v>
                </c:pt>
                <c:pt idx="55">
                  <c:v>6.2023196675549999</c:v>
                </c:pt>
                <c:pt idx="56">
                  <c:v>32.001558336753</c:v>
                </c:pt>
                <c:pt idx="57">
                  <c:v>33.711652994718001</c:v>
                </c:pt>
                <c:pt idx="58">
                  <c:v>24.145154990590001</c:v>
                </c:pt>
                <c:pt idx="59">
                  <c:v>21.550175993103</c:v>
                </c:pt>
                <c:pt idx="60">
                  <c:v>16.775097003820999</c:v>
                </c:pt>
                <c:pt idx="61">
                  <c:v>10.224948875255</c:v>
                </c:pt>
                <c:pt idx="62">
                  <c:v>14.619348708015</c:v>
                </c:pt>
                <c:pt idx="63">
                  <c:v>9.6133225861309999</c:v>
                </c:pt>
                <c:pt idx="64">
                  <c:v>26.942276173298001</c:v>
                </c:pt>
                <c:pt idx="65">
                  <c:v>31.089811641238001</c:v>
                </c:pt>
                <c:pt idx="66">
                  <c:v>24.609516192291998</c:v>
                </c:pt>
                <c:pt idx="67">
                  <c:v>25.048139392894999</c:v>
                </c:pt>
                <c:pt idx="68">
                  <c:v>7.8468914539499997</c:v>
                </c:pt>
                <c:pt idx="69">
                  <c:v>3.9279149056509999</c:v>
                </c:pt>
                <c:pt idx="70">
                  <c:v>12.734189707591</c:v>
                </c:pt>
                <c:pt idx="71">
                  <c:v>18.558115141001</c:v>
                </c:pt>
                <c:pt idx="72">
                  <c:v>22.109762688547001</c:v>
                </c:pt>
                <c:pt idx="73">
                  <c:v>16.678897858429</c:v>
                </c:pt>
                <c:pt idx="74">
                  <c:v>15.937859126102</c:v>
                </c:pt>
                <c:pt idx="75">
                  <c:v>3.3679105482949998</c:v>
                </c:pt>
                <c:pt idx="76">
                  <c:v>2.5325004220829999</c:v>
                </c:pt>
                <c:pt idx="77">
                  <c:v>21.147908471851999</c:v>
                </c:pt>
                <c:pt idx="78">
                  <c:v>18.949018526972001</c:v>
                </c:pt>
                <c:pt idx="79">
                  <c:v>19.200726136551999</c:v>
                </c:pt>
                <c:pt idx="80">
                  <c:v>13.295986384909</c:v>
                </c:pt>
                <c:pt idx="81">
                  <c:v>11.724703951225001</c:v>
                </c:pt>
                <c:pt idx="82">
                  <c:v>4.5377815693460004</c:v>
                </c:pt>
                <c:pt idx="83">
                  <c:v>0.91023283755899997</c:v>
                </c:pt>
                <c:pt idx="84">
                  <c:v>11.950945963338</c:v>
                </c:pt>
                <c:pt idx="85">
                  <c:v>13.947909208409</c:v>
                </c:pt>
                <c:pt idx="86">
                  <c:v>7.528207251545</c:v>
                </c:pt>
                <c:pt idx="87">
                  <c:v>16.174455777135002</c:v>
                </c:pt>
                <c:pt idx="88">
                  <c:v>11.570949203532001</c:v>
                </c:pt>
                <c:pt idx="89">
                  <c:v>3.864958355073</c:v>
                </c:pt>
                <c:pt idx="90">
                  <c:v>4.8419115866939997</c:v>
                </c:pt>
                <c:pt idx="91">
                  <c:v>11.702293649554999</c:v>
                </c:pt>
                <c:pt idx="92">
                  <c:v>11.780528749398</c:v>
                </c:pt>
                <c:pt idx="93">
                  <c:v>7.8994401271800001</c:v>
                </c:pt>
                <c:pt idx="94">
                  <c:v>4.9691416304739997</c:v>
                </c:pt>
                <c:pt idx="95">
                  <c:v>16.993372584690999</c:v>
                </c:pt>
                <c:pt idx="96">
                  <c:v>8.0100125156440001</c:v>
                </c:pt>
                <c:pt idx="97">
                  <c:v>2.0057565212149999</c:v>
                </c:pt>
                <c:pt idx="98">
                  <c:v>9.0539616112020003</c:v>
                </c:pt>
                <c:pt idx="99">
                  <c:v>16.161289670915</c:v>
                </c:pt>
                <c:pt idx="100">
                  <c:v>5.0765028986829996</c:v>
                </c:pt>
                <c:pt idx="101">
                  <c:v>8.1581872507920004</c:v>
                </c:pt>
                <c:pt idx="102">
                  <c:v>6.1454001679739996</c:v>
                </c:pt>
                <c:pt idx="103">
                  <c:v>4.0997888608729998</c:v>
                </c:pt>
                <c:pt idx="104">
                  <c:v>1.0256936253140001</c:v>
                </c:pt>
                <c:pt idx="105">
                  <c:v>3.0844205915909999</c:v>
                </c:pt>
                <c:pt idx="106">
                  <c:v>7.2121080991969997</c:v>
                </c:pt>
                <c:pt idx="107">
                  <c:v>3.0991415377939999</c:v>
                </c:pt>
                <c:pt idx="108">
                  <c:v>4.1452065867329999</c:v>
                </c:pt>
                <c:pt idx="109">
                  <c:v>4.1615947230970001</c:v>
                </c:pt>
                <c:pt idx="110">
                  <c:v>1.040864333742</c:v>
                </c:pt>
                <c:pt idx="111">
                  <c:v>1.0420357209840001</c:v>
                </c:pt>
                <c:pt idx="112">
                  <c:v>1.0443100765469999</c:v>
                </c:pt>
                <c:pt idx="113">
                  <c:v>3.1394545720920002</c:v>
                </c:pt>
                <c:pt idx="114">
                  <c:v>7.3513195618609997</c:v>
                </c:pt>
                <c:pt idx="115">
                  <c:v>2.1077702951930002</c:v>
                </c:pt>
                <c:pt idx="116">
                  <c:v>3.1730250563209998</c:v>
                </c:pt>
                <c:pt idx="117">
                  <c:v>0</c:v>
                </c:pt>
                <c:pt idx="118">
                  <c:v>1.063614801263</c:v>
                </c:pt>
                <c:pt idx="119">
                  <c:v>4.2709034028420003</c:v>
                </c:pt>
                <c:pt idx="120">
                  <c:v>2.1519259737460001</c:v>
                </c:pt>
                <c:pt idx="121">
                  <c:v>0</c:v>
                </c:pt>
                <c:pt idx="122">
                  <c:v>4.3756973767689997</c:v>
                </c:pt>
                <c:pt idx="123">
                  <c:v>0</c:v>
                </c:pt>
                <c:pt idx="124">
                  <c:v>0</c:v>
                </c:pt>
                <c:pt idx="125">
                  <c:v>1.1072603058249999</c:v>
                </c:pt>
                <c:pt idx="126">
                  <c:v>0</c:v>
                </c:pt>
                <c:pt idx="127">
                  <c:v>1.123418788055</c:v>
                </c:pt>
                <c:pt idx="128">
                  <c:v>1.1312345162270001</c:v>
                </c:pt>
                <c:pt idx="129">
                  <c:v>1.141734980476</c:v>
                </c:pt>
                <c:pt idx="131">
                  <c:v>1.1577155955859999</c:v>
                </c:pt>
                <c:pt idx="132">
                  <c:v>1.1609412911979999</c:v>
                </c:pt>
                <c:pt idx="133">
                  <c:v>1.1681970047420001</c:v>
                </c:pt>
                <c:pt idx="135">
                  <c:v>0</c:v>
                </c:pt>
                <c:pt idx="136">
                  <c:v>2.3866633253380001</c:v>
                </c:pt>
                <c:pt idx="137">
                  <c:v>0</c:v>
                </c:pt>
                <c:pt idx="138">
                  <c:v>0</c:v>
                </c:pt>
                <c:pt idx="139">
                  <c:v>1.209643276197</c:v>
                </c:pt>
                <c:pt idx="141">
                  <c:v>1.223720600112</c:v>
                </c:pt>
                <c:pt idx="142">
                  <c:v>3.6943083023419998</c:v>
                </c:pt>
                <c:pt idx="143">
                  <c:v>2.4800049600089999</c:v>
                </c:pt>
                <c:pt idx="145">
                  <c:v>1.254720887338</c:v>
                </c:pt>
                <c:pt idx="146">
                  <c:v>1.2566918842829999</c:v>
                </c:pt>
                <c:pt idx="147">
                  <c:v>0</c:v>
                </c:pt>
                <c:pt idx="148">
                  <c:v>3.816648219533</c:v>
                </c:pt>
                <c:pt idx="150">
                  <c:v>1.2902892828570001</c:v>
                </c:pt>
                <c:pt idx="151">
                  <c:v>1.3002210375759999</c:v>
                </c:pt>
                <c:pt idx="153">
                  <c:v>1.306148038818</c:v>
                </c:pt>
                <c:pt idx="154">
                  <c:v>0</c:v>
                </c:pt>
                <c:pt idx="155">
                  <c:v>1.3224714346169999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1.3551420866470001</c:v>
                </c:pt>
                <c:pt idx="161">
                  <c:v>2.7316060477750002</c:v>
                </c:pt>
                <c:pt idx="162">
                  <c:v>4.1259231753099996</c:v>
                </c:pt>
                <c:pt idx="163">
                  <c:v>1.385598093417</c:v>
                </c:pt>
                <c:pt idx="164">
                  <c:v>4.1904123365729999</c:v>
                </c:pt>
                <c:pt idx="165">
                  <c:v>2.8149586904809998</c:v>
                </c:pt>
                <c:pt idx="166">
                  <c:v>1.4105566056359999</c:v>
                </c:pt>
                <c:pt idx="167">
                  <c:v>2.824938557586</c:v>
                </c:pt>
                <c:pt idx="168">
                  <c:v>2.8285742571450001</c:v>
                </c:pt>
                <c:pt idx="169">
                  <c:v>2.8329815714539999</c:v>
                </c:pt>
                <c:pt idx="170">
                  <c:v>5.7043438578470003</c:v>
                </c:pt>
                <c:pt idx="171">
                  <c:v>2.8693581245869999</c:v>
                </c:pt>
                <c:pt idx="172">
                  <c:v>1.4438765196800001</c:v>
                </c:pt>
                <c:pt idx="173">
                  <c:v>0</c:v>
                </c:pt>
                <c:pt idx="174">
                  <c:v>1.449611504116</c:v>
                </c:pt>
                <c:pt idx="175">
                  <c:v>4.3744531933499999</c:v>
                </c:pt>
                <c:pt idx="176">
                  <c:v>1.466211163731</c:v>
                </c:pt>
                <c:pt idx="177">
                  <c:v>0</c:v>
                </c:pt>
                <c:pt idx="178">
                  <c:v>5.9433597812840002</c:v>
                </c:pt>
                <c:pt idx="179">
                  <c:v>2.9921306962680001</c:v>
                </c:pt>
                <c:pt idx="180">
                  <c:v>1.4989357556130001</c:v>
                </c:pt>
                <c:pt idx="181">
                  <c:v>0</c:v>
                </c:pt>
                <c:pt idx="182">
                  <c:v>0</c:v>
                </c:pt>
                <c:pt idx="183">
                  <c:v>3.0479906121879998</c:v>
                </c:pt>
                <c:pt idx="184">
                  <c:v>7.6747148843420003</c:v>
                </c:pt>
                <c:pt idx="185">
                  <c:v>0</c:v>
                </c:pt>
                <c:pt idx="186">
                  <c:v>4.6680255807800002</c:v>
                </c:pt>
                <c:pt idx="187">
                  <c:v>1.5608416057929999</c:v>
                </c:pt>
                <c:pt idx="188">
                  <c:v>0</c:v>
                </c:pt>
                <c:pt idx="189">
                  <c:v>12.577627545004001</c:v>
                </c:pt>
                <c:pt idx="190">
                  <c:v>1.5817028612999999</c:v>
                </c:pt>
                <c:pt idx="191">
                  <c:v>4.7750171104770001</c:v>
                </c:pt>
                <c:pt idx="192">
                  <c:v>3.2002048131079999</c:v>
                </c:pt>
                <c:pt idx="193">
                  <c:v>9.6535967692620002</c:v>
                </c:pt>
                <c:pt idx="194">
                  <c:v>4.8373832981270004</c:v>
                </c:pt>
                <c:pt idx="195">
                  <c:v>1.6154827870299999</c:v>
                </c:pt>
                <c:pt idx="196">
                  <c:v>4.8682331559129999</c:v>
                </c:pt>
                <c:pt idx="197">
                  <c:v>3.2616849864640001</c:v>
                </c:pt>
                <c:pt idx="198">
                  <c:v>4.9189198052099998</c:v>
                </c:pt>
                <c:pt idx="199">
                  <c:v>0</c:v>
                </c:pt>
                <c:pt idx="200">
                  <c:v>3.315924728508</c:v>
                </c:pt>
                <c:pt idx="201">
                  <c:v>0</c:v>
                </c:pt>
                <c:pt idx="202">
                  <c:v>0</c:v>
                </c:pt>
                <c:pt idx="203">
                  <c:v>3.35126258818</c:v>
                </c:pt>
                <c:pt idx="204">
                  <c:v>3.3688182185679998</c:v>
                </c:pt>
                <c:pt idx="205">
                  <c:v>3.3897730546929998</c:v>
                </c:pt>
                <c:pt idx="206">
                  <c:v>5.1122130770409999</c:v>
                </c:pt>
                <c:pt idx="207">
                  <c:v>1.7149717029660001</c:v>
                </c:pt>
                <c:pt idx="208">
                  <c:v>0</c:v>
                </c:pt>
                <c:pt idx="209">
                  <c:v>3.4403866994649999</c:v>
                </c:pt>
                <c:pt idx="210">
                  <c:v>0</c:v>
                </c:pt>
                <c:pt idx="211">
                  <c:v>1.737830839546</c:v>
                </c:pt>
                <c:pt idx="212">
                  <c:v>3.4942432342709999</c:v>
                </c:pt>
                <c:pt idx="213">
                  <c:v>14.050123816716001</c:v>
                </c:pt>
                <c:pt idx="214">
                  <c:v>8.8409512863580009</c:v>
                </c:pt>
                <c:pt idx="215">
                  <c:v>10.621536936394</c:v>
                </c:pt>
                <c:pt idx="216">
                  <c:v>1.7718558418079999</c:v>
                </c:pt>
                <c:pt idx="217">
                  <c:v>7.1232681554289998</c:v>
                </c:pt>
                <c:pt idx="218">
                  <c:v>8.9448638591720009</c:v>
                </c:pt>
                <c:pt idx="219">
                  <c:v>1.796493245185</c:v>
                </c:pt>
                <c:pt idx="220">
                  <c:v>5.4106698409260003</c:v>
                </c:pt>
                <c:pt idx="221">
                  <c:v>1.8112660749859999</c:v>
                </c:pt>
                <c:pt idx="222">
                  <c:v>1.812513593851</c:v>
                </c:pt>
                <c:pt idx="223">
                  <c:v>3.6273940800919999</c:v>
                </c:pt>
                <c:pt idx="224">
                  <c:v>3.6364297532680001</c:v>
                </c:pt>
                <c:pt idx="225">
                  <c:v>7.2928821470239997</c:v>
                </c:pt>
                <c:pt idx="226">
                  <c:v>5.480453050785</c:v>
                </c:pt>
                <c:pt idx="227">
                  <c:v>10.985389432054999</c:v>
                </c:pt>
                <c:pt idx="228">
                  <c:v>12.845686601948</c:v>
                </c:pt>
                <c:pt idx="229">
                  <c:v>3.6708698126020001</c:v>
                </c:pt>
                <c:pt idx="230">
                  <c:v>9.1763324034640004</c:v>
                </c:pt>
                <c:pt idx="231">
                  <c:v>16.550810989738</c:v>
                </c:pt>
                <c:pt idx="232">
                  <c:v>14.733779030148</c:v>
                </c:pt>
                <c:pt idx="233">
                  <c:v>14.756063819975999</c:v>
                </c:pt>
                <c:pt idx="234">
                  <c:v>9.2366807064209997</c:v>
                </c:pt>
                <c:pt idx="235">
                  <c:v>11.107203021159</c:v>
                </c:pt>
                <c:pt idx="236">
                  <c:v>9.2558311736390007</c:v>
                </c:pt>
                <c:pt idx="237">
                  <c:v>9.2551458610980006</c:v>
                </c:pt>
                <c:pt idx="238">
                  <c:v>7.4127610681779998</c:v>
                </c:pt>
                <c:pt idx="239">
                  <c:v>14.848636709541999</c:v>
                </c:pt>
                <c:pt idx="240">
                  <c:v>22.303174485168</c:v>
                </c:pt>
                <c:pt idx="241">
                  <c:v>35.368577810871002</c:v>
                </c:pt>
                <c:pt idx="242">
                  <c:v>31.712867962541001</c:v>
                </c:pt>
                <c:pt idx="243">
                  <c:v>13.063357282821</c:v>
                </c:pt>
                <c:pt idx="244">
                  <c:v>11.200925943211001</c:v>
                </c:pt>
                <c:pt idx="245">
                  <c:v>18.704524624506</c:v>
                </c:pt>
                <c:pt idx="246">
                  <c:v>28.099885727130999</c:v>
                </c:pt>
                <c:pt idx="247">
                  <c:v>22.510270310829</c:v>
                </c:pt>
                <c:pt idx="248">
                  <c:v>13.156163662675</c:v>
                </c:pt>
                <c:pt idx="249">
                  <c:v>15.07159005275</c:v>
                </c:pt>
                <c:pt idx="250">
                  <c:v>7.5392038600719999</c:v>
                </c:pt>
                <c:pt idx="251">
                  <c:v>9.427380885042</c:v>
                </c:pt>
                <c:pt idx="252">
                  <c:v>33.991766438794997</c:v>
                </c:pt>
                <c:pt idx="253">
                  <c:v>49.106636950854998</c:v>
                </c:pt>
                <c:pt idx="254">
                  <c:v>28.389734272087001</c:v>
                </c:pt>
                <c:pt idx="255">
                  <c:v>45.491593532610999</c:v>
                </c:pt>
                <c:pt idx="256">
                  <c:v>22.782503037666999</c:v>
                </c:pt>
                <c:pt idx="257">
                  <c:v>15.193527557259999</c:v>
                </c:pt>
                <c:pt idx="258">
                  <c:v>24.695110368146999</c:v>
                </c:pt>
                <c:pt idx="259">
                  <c:v>95.116708200961995</c:v>
                </c:pt>
                <c:pt idx="260">
                  <c:v>80.016765417515998</c:v>
                </c:pt>
                <c:pt idx="261">
                  <c:v>78.211437945900002</c:v>
                </c:pt>
                <c:pt idx="262">
                  <c:v>103.147921760391</c:v>
                </c:pt>
                <c:pt idx="263">
                  <c:v>84.205691539241002</c:v>
                </c:pt>
                <c:pt idx="264">
                  <c:v>53.603905427394999</c:v>
                </c:pt>
                <c:pt idx="265">
                  <c:v>34.465591850801999</c:v>
                </c:pt>
                <c:pt idx="266">
                  <c:v>109.306383876349</c:v>
                </c:pt>
                <c:pt idx="267">
                  <c:v>136.32087245358301</c:v>
                </c:pt>
                <c:pt idx="268">
                  <c:v>144.15868988582599</c:v>
                </c:pt>
                <c:pt idx="269">
                  <c:v>78.923559645035994</c:v>
                </c:pt>
                <c:pt idx="270">
                  <c:v>158.18206369721599</c:v>
                </c:pt>
                <c:pt idx="271">
                  <c:v>127.37132601269801</c:v>
                </c:pt>
                <c:pt idx="272">
                  <c:v>63.699185422536999</c:v>
                </c:pt>
                <c:pt idx="273">
                  <c:v>204.858628220242</c:v>
                </c:pt>
                <c:pt idx="274">
                  <c:v>228.21336015162601</c:v>
                </c:pt>
                <c:pt idx="275">
                  <c:v>213.037920749893</c:v>
                </c:pt>
                <c:pt idx="276">
                  <c:v>176.579023964296</c:v>
                </c:pt>
                <c:pt idx="277">
                  <c:v>200.385206513491</c:v>
                </c:pt>
                <c:pt idx="278">
                  <c:v>105.129952302151</c:v>
                </c:pt>
                <c:pt idx="279">
                  <c:v>42.856586278100004</c:v>
                </c:pt>
                <c:pt idx="280">
                  <c:v>216.61917957925101</c:v>
                </c:pt>
                <c:pt idx="281">
                  <c:v>228.95385699189799</c:v>
                </c:pt>
                <c:pt idx="282">
                  <c:v>245.36746231155701</c:v>
                </c:pt>
                <c:pt idx="283">
                  <c:v>200.37718057519999</c:v>
                </c:pt>
                <c:pt idx="284">
                  <c:v>295.467528118659</c:v>
                </c:pt>
                <c:pt idx="285">
                  <c:v>159.71920968568801</c:v>
                </c:pt>
                <c:pt idx="286">
                  <c:v>80.907745436604998</c:v>
                </c:pt>
                <c:pt idx="287">
                  <c:v>308.75804057397301</c:v>
                </c:pt>
                <c:pt idx="288">
                  <c:v>369.128182738296</c:v>
                </c:pt>
                <c:pt idx="289">
                  <c:v>244.771248333366</c:v>
                </c:pt>
                <c:pt idx="290">
                  <c:v>299.49684529989599</c:v>
                </c:pt>
                <c:pt idx="291">
                  <c:v>535.40275521867204</c:v>
                </c:pt>
                <c:pt idx="292">
                  <c:v>271.03535505631498</c:v>
                </c:pt>
                <c:pt idx="293">
                  <c:v>140.649802085635</c:v>
                </c:pt>
                <c:pt idx="294">
                  <c:v>338.62092596698398</c:v>
                </c:pt>
                <c:pt idx="295">
                  <c:v>436.36363636363598</c:v>
                </c:pt>
                <c:pt idx="296">
                  <c:v>293.754178399951</c:v>
                </c:pt>
                <c:pt idx="297">
                  <c:v>447.19082852264398</c:v>
                </c:pt>
                <c:pt idx="298">
                  <c:v>287.97255070155001</c:v>
                </c:pt>
                <c:pt idx="299">
                  <c:v>175.869120654396</c:v>
                </c:pt>
                <c:pt idx="300">
                  <c:v>116.676560293124</c:v>
                </c:pt>
                <c:pt idx="301">
                  <c:v>361.79747564034</c:v>
                </c:pt>
                <c:pt idx="302">
                  <c:v>344.97004751084398</c:v>
                </c:pt>
                <c:pt idx="303">
                  <c:v>316.46878749017401</c:v>
                </c:pt>
                <c:pt idx="304">
                  <c:v>234.800315837592</c:v>
                </c:pt>
                <c:pt idx="305">
                  <c:v>265.59591776983001</c:v>
                </c:pt>
                <c:pt idx="306">
                  <c:v>154.99654399597799</c:v>
                </c:pt>
                <c:pt idx="307">
                  <c:v>90.171325518485006</c:v>
                </c:pt>
                <c:pt idx="308">
                  <c:v>297.23633450681899</c:v>
                </c:pt>
                <c:pt idx="309">
                  <c:v>296.6038855109</c:v>
                </c:pt>
                <c:pt idx="310">
                  <c:v>234.381658569845</c:v>
                </c:pt>
                <c:pt idx="311">
                  <c:v>205.84514441323401</c:v>
                </c:pt>
                <c:pt idx="312">
                  <c:v>198.72127181613899</c:v>
                </c:pt>
                <c:pt idx="313">
                  <c:v>129.81393336217999</c:v>
                </c:pt>
                <c:pt idx="314">
                  <c:v>84.468605834830996</c:v>
                </c:pt>
                <c:pt idx="315">
                  <c:v>204.450051112512</c:v>
                </c:pt>
                <c:pt idx="316">
                  <c:v>288.35441378858297</c:v>
                </c:pt>
                <c:pt idx="317">
                  <c:v>175.56179775280799</c:v>
                </c:pt>
                <c:pt idx="318">
                  <c:v>152.149944873208</c:v>
                </c:pt>
                <c:pt idx="319">
                  <c:v>166.36720569641301</c:v>
                </c:pt>
                <c:pt idx="320">
                  <c:v>104.435161318993</c:v>
                </c:pt>
                <c:pt idx="321">
                  <c:v>66.733400066732997</c:v>
                </c:pt>
                <c:pt idx="322">
                  <c:v>176.56787805641201</c:v>
                </c:pt>
                <c:pt idx="323">
                  <c:v>177.46428250516601</c:v>
                </c:pt>
                <c:pt idx="324">
                  <c:v>103.60593707065399</c:v>
                </c:pt>
                <c:pt idx="325">
                  <c:v>124.50199203187201</c:v>
                </c:pt>
                <c:pt idx="326">
                  <c:v>36.488859495085002</c:v>
                </c:pt>
                <c:pt idx="327">
                  <c:v>43.423608730429997</c:v>
                </c:pt>
                <c:pt idx="328">
                  <c:v>34.332799267566003</c:v>
                </c:pt>
                <c:pt idx="329">
                  <c:v>96.578366445916004</c:v>
                </c:pt>
                <c:pt idx="330">
                  <c:v>187.17071818097699</c:v>
                </c:pt>
                <c:pt idx="331">
                  <c:v>169.58208469812001</c:v>
                </c:pt>
                <c:pt idx="332">
                  <c:v>102.825360472996</c:v>
                </c:pt>
                <c:pt idx="333">
                  <c:v>141.272868545595</c:v>
                </c:pt>
                <c:pt idx="334">
                  <c:v>16.543379103347998</c:v>
                </c:pt>
                <c:pt idx="335">
                  <c:v>49.751243781093997</c:v>
                </c:pt>
                <c:pt idx="336">
                  <c:v>116.83357176919399</c:v>
                </c:pt>
                <c:pt idx="337">
                  <c:v>122.38433480514399</c:v>
                </c:pt>
                <c:pt idx="338">
                  <c:v>113.50463678516201</c:v>
                </c:pt>
                <c:pt idx="339">
                  <c:v>130.90274410937599</c:v>
                </c:pt>
                <c:pt idx="340">
                  <c:v>92.293493308720997</c:v>
                </c:pt>
                <c:pt idx="341">
                  <c:v>51.103594286130999</c:v>
                </c:pt>
                <c:pt idx="342">
                  <c:v>34.136350336485997</c:v>
                </c:pt>
                <c:pt idx="343">
                  <c:v>105.37924273986</c:v>
                </c:pt>
                <c:pt idx="344">
                  <c:v>167.54133096804301</c:v>
                </c:pt>
                <c:pt idx="345">
                  <c:v>138.685950617895</c:v>
                </c:pt>
                <c:pt idx="346">
                  <c:v>139.22036595067601</c:v>
                </c:pt>
                <c:pt idx="347">
                  <c:v>186.95316200114601</c:v>
                </c:pt>
                <c:pt idx="348">
                  <c:v>124.884481854284</c:v>
                </c:pt>
                <c:pt idx="349">
                  <c:v>107.634543178973</c:v>
                </c:pt>
                <c:pt idx="350">
                  <c:v>271.82120205375998</c:v>
                </c:pt>
                <c:pt idx="351">
                  <c:v>349.10194788768001</c:v>
                </c:pt>
                <c:pt idx="352">
                  <c:v>401.62684290798097</c:v>
                </c:pt>
                <c:pt idx="353">
                  <c:v>421.55284739786902</c:v>
                </c:pt>
                <c:pt idx="354">
                  <c:v>372.96157209733002</c:v>
                </c:pt>
                <c:pt idx="355">
                  <c:v>242.48677931123399</c:v>
                </c:pt>
                <c:pt idx="356">
                  <c:v>217.1552660152</c:v>
                </c:pt>
                <c:pt idx="357">
                  <c:v>462.15760093469999</c:v>
                </c:pt>
                <c:pt idx="358">
                  <c:v>458.79930137379102</c:v>
                </c:pt>
                <c:pt idx="359">
                  <c:v>586.41813707523897</c:v>
                </c:pt>
                <c:pt idx="360">
                  <c:v>1156.1908766029001</c:v>
                </c:pt>
                <c:pt idx="361">
                  <c:v>828.47418273924097</c:v>
                </c:pt>
                <c:pt idx="362">
                  <c:v>309.45831570038001</c:v>
                </c:pt>
                <c:pt idx="363">
                  <c:v>326.02645320327599</c:v>
                </c:pt>
                <c:pt idx="364">
                  <c:v>784.32415186642504</c:v>
                </c:pt>
                <c:pt idx="365">
                  <c:v>974.492784493317</c:v>
                </c:pt>
                <c:pt idx="366">
                  <c:v>837.35566281767501</c:v>
                </c:pt>
                <c:pt idx="367">
                  <c:v>809.23002964505997</c:v>
                </c:pt>
                <c:pt idx="368">
                  <c:v>668.771066288588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0B-4754-90A8-6FC4E50C7F8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70</c:f>
              <c:numCache>
                <c:formatCode>m/d/yyyy</c:formatCode>
                <c:ptCount val="36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</c:numCache>
            </c:numRef>
          </c:cat>
          <c:val>
            <c:numRef>
              <c:f>List1!$C$2:$C$370</c:f>
              <c:numCache>
                <c:formatCode>General</c:formatCode>
                <c:ptCount val="36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81749772122499997</c:v>
                </c:pt>
                <c:pt idx="9">
                  <c:v>0.81752779594500002</c:v>
                </c:pt>
                <c:pt idx="10">
                  <c:v>1.22633179633</c:v>
                </c:pt>
                <c:pt idx="11">
                  <c:v>2.4527538293609998</c:v>
                </c:pt>
                <c:pt idx="12">
                  <c:v>0.40880567422199998</c:v>
                </c:pt>
                <c:pt idx="13">
                  <c:v>0</c:v>
                </c:pt>
                <c:pt idx="14">
                  <c:v>1.226502260852</c:v>
                </c:pt>
                <c:pt idx="15">
                  <c:v>2.4530847540780001</c:v>
                </c:pt>
                <c:pt idx="16">
                  <c:v>0.81772500725700004</c:v>
                </c:pt>
                <c:pt idx="17">
                  <c:v>4.0887587754980004</c:v>
                </c:pt>
                <c:pt idx="18">
                  <c:v>2.862224766422</c:v>
                </c:pt>
                <c:pt idx="19">
                  <c:v>1.63561720015</c:v>
                </c:pt>
                <c:pt idx="20">
                  <c:v>0.408917676693</c:v>
                </c:pt>
                <c:pt idx="21">
                  <c:v>3.6803945382940002</c:v>
                </c:pt>
                <c:pt idx="22">
                  <c:v>5.7252454698989999</c:v>
                </c:pt>
                <c:pt idx="23">
                  <c:v>5.7254561961699997</c:v>
                </c:pt>
                <c:pt idx="24">
                  <c:v>4.9076944469430002</c:v>
                </c:pt>
                <c:pt idx="25">
                  <c:v>8.5887462884340007</c:v>
                </c:pt>
                <c:pt idx="26">
                  <c:v>3.681026761064</c:v>
                </c:pt>
                <c:pt idx="27">
                  <c:v>4.4991799222050002</c:v>
                </c:pt>
                <c:pt idx="28">
                  <c:v>8.1797918242980003</c:v>
                </c:pt>
                <c:pt idx="29">
                  <c:v>5.3165385244559999</c:v>
                </c:pt>
                <c:pt idx="30">
                  <c:v>7.7698171230410003</c:v>
                </c:pt>
                <c:pt idx="31">
                  <c:v>4.4978737324170002</c:v>
                </c:pt>
                <c:pt idx="32">
                  <c:v>6.541693071938</c:v>
                </c:pt>
                <c:pt idx="33">
                  <c:v>3.679341316141</c:v>
                </c:pt>
                <c:pt idx="34">
                  <c:v>1.635102377847</c:v>
                </c:pt>
                <c:pt idx="35">
                  <c:v>5.7222969299870003</c:v>
                </c:pt>
                <c:pt idx="36">
                  <c:v>6.9477934625350004</c:v>
                </c:pt>
                <c:pt idx="37">
                  <c:v>2.4519218981140001</c:v>
                </c:pt>
                <c:pt idx="38">
                  <c:v>6.1292036121429998</c:v>
                </c:pt>
                <c:pt idx="39">
                  <c:v>6.5371761033520004</c:v>
                </c:pt>
                <c:pt idx="40">
                  <c:v>2.859734126432</c:v>
                </c:pt>
                <c:pt idx="41">
                  <c:v>3.267933808</c:v>
                </c:pt>
                <c:pt idx="42">
                  <c:v>8.1690336441649993</c:v>
                </c:pt>
                <c:pt idx="43">
                  <c:v>4.4925281089310003</c:v>
                </c:pt>
                <c:pt idx="44">
                  <c:v>3.26697294538</c:v>
                </c:pt>
                <c:pt idx="45">
                  <c:v>5.3082890975900003</c:v>
                </c:pt>
                <c:pt idx="46">
                  <c:v>6.1243487775789998</c:v>
                </c:pt>
                <c:pt idx="47">
                  <c:v>1.224749742802</c:v>
                </c:pt>
                <c:pt idx="48">
                  <c:v>1.6328396714719999</c:v>
                </c:pt>
                <c:pt idx="49">
                  <c:v>5.714379010269</c:v>
                </c:pt>
                <c:pt idx="50">
                  <c:v>5.7137959603460002</c:v>
                </c:pt>
                <c:pt idx="51">
                  <c:v>6.5294129649650001</c:v>
                </c:pt>
                <c:pt idx="52">
                  <c:v>4.0804834556790004</c:v>
                </c:pt>
                <c:pt idx="53">
                  <c:v>3.2640671092189999</c:v>
                </c:pt>
                <c:pt idx="54">
                  <c:v>3.2637342014859998</c:v>
                </c:pt>
                <c:pt idx="55">
                  <c:v>1.6317073369720001</c:v>
                </c:pt>
                <c:pt idx="56">
                  <c:v>4.0788690112000001</c:v>
                </c:pt>
                <c:pt idx="57">
                  <c:v>2.4470818548879998</c:v>
                </c:pt>
                <c:pt idx="58">
                  <c:v>4.8936647431839999</c:v>
                </c:pt>
                <c:pt idx="59">
                  <c:v>2.038652858191</c:v>
                </c:pt>
                <c:pt idx="60">
                  <c:v>1.2229623409120001</c:v>
                </c:pt>
                <c:pt idx="61">
                  <c:v>3.6681991587590002</c:v>
                </c:pt>
                <c:pt idx="62">
                  <c:v>0.40750294420799998</c:v>
                </c:pt>
                <c:pt idx="63">
                  <c:v>1.222279714638</c:v>
                </c:pt>
                <c:pt idx="64">
                  <c:v>3.6661520475449998</c:v>
                </c:pt>
                <c:pt idx="65">
                  <c:v>2.850928995576</c:v>
                </c:pt>
                <c:pt idx="66">
                  <c:v>4.0719928332919997</c:v>
                </c:pt>
                <c:pt idx="67">
                  <c:v>2.035615122177</c:v>
                </c:pt>
                <c:pt idx="68">
                  <c:v>2.0352339704969999</c:v>
                </c:pt>
                <c:pt idx="69">
                  <c:v>0.81394449712399997</c:v>
                </c:pt>
                <c:pt idx="70">
                  <c:v>3.6620646720619998</c:v>
                </c:pt>
                <c:pt idx="71">
                  <c:v>2.0340996464729999</c:v>
                </c:pt>
                <c:pt idx="72">
                  <c:v>2.0337273341080002</c:v>
                </c:pt>
                <c:pt idx="73">
                  <c:v>2.4400162667749998</c:v>
                </c:pt>
                <c:pt idx="74">
                  <c:v>2.0329665861609998</c:v>
                </c:pt>
                <c:pt idx="75">
                  <c:v>2.4391037106889999</c:v>
                </c:pt>
                <c:pt idx="76">
                  <c:v>1.6257717335190001</c:v>
                </c:pt>
                <c:pt idx="77">
                  <c:v>2.8445687024290001</c:v>
                </c:pt>
                <c:pt idx="78">
                  <c:v>2.8440370699909998</c:v>
                </c:pt>
                <c:pt idx="79">
                  <c:v>4.8746008920510002</c:v>
                </c:pt>
                <c:pt idx="80">
                  <c:v>1.624563398586</c:v>
                </c:pt>
                <c:pt idx="81">
                  <c:v>2.0303249332019999</c:v>
                </c:pt>
                <c:pt idx="82">
                  <c:v>0.40598915196899998</c:v>
                </c:pt>
                <c:pt idx="83">
                  <c:v>0.40591499328199998</c:v>
                </c:pt>
                <c:pt idx="84">
                  <c:v>2.8408745023390001</c:v>
                </c:pt>
                <c:pt idx="85">
                  <c:v>2.840344249723</c:v>
                </c:pt>
                <c:pt idx="86">
                  <c:v>1.2170681639300001</c:v>
                </c:pt>
                <c:pt idx="87">
                  <c:v>4.0561369351819998</c:v>
                </c:pt>
                <c:pt idx="88">
                  <c:v>2.4332281638039999</c:v>
                </c:pt>
                <c:pt idx="89">
                  <c:v>0.81097081315999997</c:v>
                </c:pt>
                <c:pt idx="90">
                  <c:v>1.6220271284029999</c:v>
                </c:pt>
                <c:pt idx="91">
                  <c:v>2.8387086308899998</c:v>
                </c:pt>
                <c:pt idx="92">
                  <c:v>4.4610630307649997</c:v>
                </c:pt>
                <c:pt idx="93">
                  <c:v>3.2445936957539998</c:v>
                </c:pt>
                <c:pt idx="94">
                  <c:v>1.216786790562</c:v>
                </c:pt>
                <c:pt idx="95">
                  <c:v>1.622474517009</c:v>
                </c:pt>
                <c:pt idx="96">
                  <c:v>0</c:v>
                </c:pt>
                <c:pt idx="97">
                  <c:v>0</c:v>
                </c:pt>
                <c:pt idx="98">
                  <c:v>1.622737802082</c:v>
                </c:pt>
                <c:pt idx="99">
                  <c:v>1.217117541098</c:v>
                </c:pt>
                <c:pt idx="100">
                  <c:v>2.4343733517259998</c:v>
                </c:pt>
                <c:pt idx="101">
                  <c:v>2.4345017589269999</c:v>
                </c:pt>
                <c:pt idx="102">
                  <c:v>0.81154668625100002</c:v>
                </c:pt>
                <c:pt idx="103">
                  <c:v>0.811589498031</c:v>
                </c:pt>
                <c:pt idx="104">
                  <c:v>0.405817804038</c:v>
                </c:pt>
                <c:pt idx="105">
                  <c:v>3.2467137169589999</c:v>
                </c:pt>
                <c:pt idx="106">
                  <c:v>1.217586824087</c:v>
                </c:pt>
                <c:pt idx="107">
                  <c:v>1.217651069909</c:v>
                </c:pt>
                <c:pt idx="108">
                  <c:v>1.6236270204000001</c:v>
                </c:pt>
                <c:pt idx="109">
                  <c:v>0.405928175068</c:v>
                </c:pt>
                <c:pt idx="110">
                  <c:v>0.40594959729699998</c:v>
                </c:pt>
                <c:pt idx="111">
                  <c:v>0</c:v>
                </c:pt>
                <c:pt idx="112">
                  <c:v>1.2179822905369999</c:v>
                </c:pt>
                <c:pt idx="113">
                  <c:v>0.812034349052</c:v>
                </c:pt>
                <c:pt idx="114">
                  <c:v>0.40603860614999998</c:v>
                </c:pt>
                <c:pt idx="115">
                  <c:v>1.218185066675</c:v>
                </c:pt>
                <c:pt idx="116">
                  <c:v>1.624332500862</c:v>
                </c:pt>
                <c:pt idx="117">
                  <c:v>0.40610621301799998</c:v>
                </c:pt>
                <c:pt idx="118">
                  <c:v>0</c:v>
                </c:pt>
                <c:pt idx="119">
                  <c:v>0.81229819466700004</c:v>
                </c:pt>
                <c:pt idx="120">
                  <c:v>0</c:v>
                </c:pt>
                <c:pt idx="121">
                  <c:v>0</c:v>
                </c:pt>
                <c:pt idx="122">
                  <c:v>1.218521527213000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40620684052299999</c:v>
                </c:pt>
                <c:pt idx="127">
                  <c:v>0.40621344078999999</c:v>
                </c:pt>
                <c:pt idx="128">
                  <c:v>0</c:v>
                </c:pt>
                <c:pt idx="129">
                  <c:v>0</c:v>
                </c:pt>
                <c:pt idx="131">
                  <c:v>0.40624644534299997</c:v>
                </c:pt>
                <c:pt idx="132">
                  <c:v>0.40625469731899999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406302565394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40637521436200003</c:v>
                </c:pt>
                <c:pt idx="148">
                  <c:v>0</c:v>
                </c:pt>
                <c:pt idx="150">
                  <c:v>0.40637356296100002</c:v>
                </c:pt>
                <c:pt idx="151">
                  <c:v>0.812694284727</c:v>
                </c:pt>
                <c:pt idx="153">
                  <c:v>0.40629596222999997</c:v>
                </c:pt>
                <c:pt idx="154">
                  <c:v>0.81253910344400004</c:v>
                </c:pt>
                <c:pt idx="155">
                  <c:v>0</c:v>
                </c:pt>
                <c:pt idx="156">
                  <c:v>0.406218391131</c:v>
                </c:pt>
                <c:pt idx="157">
                  <c:v>1.2185759721180001</c:v>
                </c:pt>
                <c:pt idx="158">
                  <c:v>0.81233118742499999</c:v>
                </c:pt>
                <c:pt idx="159">
                  <c:v>0</c:v>
                </c:pt>
                <c:pt idx="161">
                  <c:v>2.0304403619050002</c:v>
                </c:pt>
                <c:pt idx="162">
                  <c:v>0.406063337759</c:v>
                </c:pt>
                <c:pt idx="163">
                  <c:v>1.6241478299350001</c:v>
                </c:pt>
                <c:pt idx="164">
                  <c:v>0.40601058063500001</c:v>
                </c:pt>
                <c:pt idx="165">
                  <c:v>2.0299292772630002</c:v>
                </c:pt>
                <c:pt idx="166">
                  <c:v>0</c:v>
                </c:pt>
                <c:pt idx="167">
                  <c:v>0.40593311845899999</c:v>
                </c:pt>
                <c:pt idx="168">
                  <c:v>2.0295420135489999</c:v>
                </c:pt>
                <c:pt idx="169">
                  <c:v>2.029410212803</c:v>
                </c:pt>
                <c:pt idx="170">
                  <c:v>0.81171137166999996</c:v>
                </c:pt>
                <c:pt idx="171">
                  <c:v>2.029154897568</c:v>
                </c:pt>
                <c:pt idx="172">
                  <c:v>1.217413888257</c:v>
                </c:pt>
                <c:pt idx="173">
                  <c:v>0.40577828274599997</c:v>
                </c:pt>
                <c:pt idx="174">
                  <c:v>0</c:v>
                </c:pt>
                <c:pt idx="175">
                  <c:v>2.0286362290079998</c:v>
                </c:pt>
                <c:pt idx="176">
                  <c:v>1.2171027275270001</c:v>
                </c:pt>
                <c:pt idx="177">
                  <c:v>0.81135244338699997</c:v>
                </c:pt>
                <c:pt idx="178">
                  <c:v>0.40564989169100002</c:v>
                </c:pt>
                <c:pt idx="179">
                  <c:v>0.81124713021299999</c:v>
                </c:pt>
                <c:pt idx="180">
                  <c:v>0.40559724193800001</c:v>
                </c:pt>
                <c:pt idx="181">
                  <c:v>0.40561533874900002</c:v>
                </c:pt>
                <c:pt idx="182">
                  <c:v>0.81126687435</c:v>
                </c:pt>
                <c:pt idx="183">
                  <c:v>1.6225995667649999</c:v>
                </c:pt>
                <c:pt idx="184">
                  <c:v>1.622671972804</c:v>
                </c:pt>
                <c:pt idx="185">
                  <c:v>1.2170533515619999</c:v>
                </c:pt>
                <c:pt idx="186">
                  <c:v>0.81140511022899997</c:v>
                </c:pt>
                <c:pt idx="187">
                  <c:v>0</c:v>
                </c:pt>
                <c:pt idx="188">
                  <c:v>0.81147424583600003</c:v>
                </c:pt>
                <c:pt idx="189">
                  <c:v>1.2172607575409999</c:v>
                </c:pt>
                <c:pt idx="190">
                  <c:v>0.81154339322500002</c:v>
                </c:pt>
                <c:pt idx="191">
                  <c:v>1.623159235978</c:v>
                </c:pt>
                <c:pt idx="192">
                  <c:v>0.81161255239899999</c:v>
                </c:pt>
                <c:pt idx="193">
                  <c:v>1.217473175007</c:v>
                </c:pt>
                <c:pt idx="194">
                  <c:v>0.40584086168099998</c:v>
                </c:pt>
                <c:pt idx="195">
                  <c:v>0.40585898023799999</c:v>
                </c:pt>
                <c:pt idx="196">
                  <c:v>1.2176263591750001</c:v>
                </c:pt>
                <c:pt idx="197">
                  <c:v>0.405893574704</c:v>
                </c:pt>
                <c:pt idx="198">
                  <c:v>0</c:v>
                </c:pt>
                <c:pt idx="199">
                  <c:v>1.217784525206</c:v>
                </c:pt>
                <c:pt idx="200">
                  <c:v>0.40594465350499997</c:v>
                </c:pt>
                <c:pt idx="201">
                  <c:v>0.40596278133199998</c:v>
                </c:pt>
                <c:pt idx="202">
                  <c:v>0.81196182155499996</c:v>
                </c:pt>
                <c:pt idx="203">
                  <c:v>1.623996167369</c:v>
                </c:pt>
                <c:pt idx="204">
                  <c:v>1.2180465781009999</c:v>
                </c:pt>
                <c:pt idx="205">
                  <c:v>1.6241280462550001</c:v>
                </c:pt>
                <c:pt idx="206">
                  <c:v>0.40605014719299998</c:v>
                </c:pt>
                <c:pt idx="207">
                  <c:v>1.2181999066039999</c:v>
                </c:pt>
                <c:pt idx="208">
                  <c:v>0.40608477425700001</c:v>
                </c:pt>
                <c:pt idx="209">
                  <c:v>0</c:v>
                </c:pt>
                <c:pt idx="210">
                  <c:v>0.406119407228</c:v>
                </c:pt>
                <c:pt idx="211">
                  <c:v>2.4368154071710002</c:v>
                </c:pt>
                <c:pt idx="212">
                  <c:v>2.0304980811790001</c:v>
                </c:pt>
                <c:pt idx="213">
                  <c:v>1.6242533510370001</c:v>
                </c:pt>
                <c:pt idx="214">
                  <c:v>3.248216526113</c:v>
                </c:pt>
                <c:pt idx="215">
                  <c:v>1.2179724007449999</c:v>
                </c:pt>
                <c:pt idx="216">
                  <c:v>0.81190908242000004</c:v>
                </c:pt>
                <c:pt idx="217">
                  <c:v>1.2177548659449999</c:v>
                </c:pt>
                <c:pt idx="218">
                  <c:v>2.8411627661560002</c:v>
                </c:pt>
                <c:pt idx="219">
                  <c:v>0.40584415584400002</c:v>
                </c:pt>
                <c:pt idx="220">
                  <c:v>1.6232448664879999</c:v>
                </c:pt>
                <c:pt idx="221">
                  <c:v>1.62308678645</c:v>
                </c:pt>
                <c:pt idx="222">
                  <c:v>1.2172064300950001</c:v>
                </c:pt>
                <c:pt idx="223">
                  <c:v>1.2170977897499999</c:v>
                </c:pt>
                <c:pt idx="224">
                  <c:v>2.8396298745280002</c:v>
                </c:pt>
                <c:pt idx="225">
                  <c:v>2.4337512625079998</c:v>
                </c:pt>
                <c:pt idx="226">
                  <c:v>2.0279697589140002</c:v>
                </c:pt>
                <c:pt idx="227">
                  <c:v>4.0555282933930004</c:v>
                </c:pt>
                <c:pt idx="228">
                  <c:v>1.2165746125200001</c:v>
                </c:pt>
                <c:pt idx="229">
                  <c:v>1.216441422263</c:v>
                </c:pt>
                <c:pt idx="230">
                  <c:v>1.621770649194</c:v>
                </c:pt>
                <c:pt idx="231">
                  <c:v>3.2466083088820001</c:v>
                </c:pt>
                <c:pt idx="232">
                  <c:v>4.0625799820430002</c:v>
                </c:pt>
                <c:pt idx="233">
                  <c:v>3.25322272376</c:v>
                </c:pt>
                <c:pt idx="234">
                  <c:v>3.2579126553609998</c:v>
                </c:pt>
                <c:pt idx="235">
                  <c:v>2.8537183950679998</c:v>
                </c:pt>
                <c:pt idx="236">
                  <c:v>1.630855791576</c:v>
                </c:pt>
                <c:pt idx="237">
                  <c:v>1.6310419911759999</c:v>
                </c:pt>
                <c:pt idx="238">
                  <c:v>5.3110215954299997</c:v>
                </c:pt>
                <c:pt idx="239">
                  <c:v>4.0856015231120004</c:v>
                </c:pt>
                <c:pt idx="240">
                  <c:v>4.0978904060180001</c:v>
                </c:pt>
                <c:pt idx="241">
                  <c:v>7.3983953702480001</c:v>
                </c:pt>
                <c:pt idx="242">
                  <c:v>1.653637382126</c:v>
                </c:pt>
                <c:pt idx="243">
                  <c:v>2.8946073465129998</c:v>
                </c:pt>
                <c:pt idx="244">
                  <c:v>4.1359058667820001</c:v>
                </c:pt>
                <c:pt idx="245">
                  <c:v>4.1530653775550004</c:v>
                </c:pt>
                <c:pt idx="246">
                  <c:v>4.589624944194</c:v>
                </c:pt>
                <c:pt idx="247">
                  <c:v>5.4563845995640001</c:v>
                </c:pt>
                <c:pt idx="248">
                  <c:v>8.4388541723799992</c:v>
                </c:pt>
                <c:pt idx="249">
                  <c:v>6.8223003944140004</c:v>
                </c:pt>
                <c:pt idx="250">
                  <c:v>2.5609615556979999</c:v>
                </c:pt>
                <c:pt idx="251">
                  <c:v>2.1350368080340001</c:v>
                </c:pt>
                <c:pt idx="252">
                  <c:v>9.4425058693749992</c:v>
                </c:pt>
                <c:pt idx="253">
                  <c:v>14.246367176370001</c:v>
                </c:pt>
                <c:pt idx="254">
                  <c:v>13.900291471736001</c:v>
                </c:pt>
                <c:pt idx="255">
                  <c:v>10.062386798147999</c:v>
                </c:pt>
                <c:pt idx="256">
                  <c:v>11.0442077548</c:v>
                </c:pt>
                <c:pt idx="257">
                  <c:v>6.1938680706099998</c:v>
                </c:pt>
                <c:pt idx="258">
                  <c:v>7.083877537467</c:v>
                </c:pt>
                <c:pt idx="259">
                  <c:v>17.819197512439999</c:v>
                </c:pt>
                <c:pt idx="260">
                  <c:v>25.113121157356002</c:v>
                </c:pt>
                <c:pt idx="261">
                  <c:v>19.897887658335002</c:v>
                </c:pt>
                <c:pt idx="262">
                  <c:v>29.238296686478002</c:v>
                </c:pt>
                <c:pt idx="263">
                  <c:v>25.478769236470001</c:v>
                </c:pt>
                <c:pt idx="264">
                  <c:v>20.426543364623001</c:v>
                </c:pt>
                <c:pt idx="265">
                  <c:v>12.085771792738001</c:v>
                </c:pt>
                <c:pt idx="266">
                  <c:v>50.181497565961998</c:v>
                </c:pt>
                <c:pt idx="267">
                  <c:v>45.453684589307002</c:v>
                </c:pt>
                <c:pt idx="268">
                  <c:v>38.438069063599997</c:v>
                </c:pt>
                <c:pt idx="269">
                  <c:v>24.067041149826</c:v>
                </c:pt>
                <c:pt idx="270">
                  <c:v>50.571605016314003</c:v>
                </c:pt>
                <c:pt idx="271">
                  <c:v>33.121453447310003</c:v>
                </c:pt>
                <c:pt idx="272">
                  <c:v>28.295029343896001</c:v>
                </c:pt>
                <c:pt idx="273">
                  <c:v>85.582328724674994</c:v>
                </c:pt>
                <c:pt idx="274">
                  <c:v>70.017578881505997</c:v>
                </c:pt>
                <c:pt idx="275">
                  <c:v>66.800938226710997</c:v>
                </c:pt>
                <c:pt idx="276">
                  <c:v>70.850408791567006</c:v>
                </c:pt>
                <c:pt idx="277">
                  <c:v>85.739673565678999</c:v>
                </c:pt>
                <c:pt idx="278">
                  <c:v>47.941886096330997</c:v>
                </c:pt>
                <c:pt idx="279">
                  <c:v>29.228625262927</c:v>
                </c:pt>
                <c:pt idx="280">
                  <c:v>94.786230720217006</c:v>
                </c:pt>
                <c:pt idx="281">
                  <c:v>102.093447408581</c:v>
                </c:pt>
                <c:pt idx="282">
                  <c:v>107.57893604432201</c:v>
                </c:pt>
                <c:pt idx="283">
                  <c:v>75.069357558613007</c:v>
                </c:pt>
                <c:pt idx="284">
                  <c:v>103.091640709004</c:v>
                </c:pt>
                <c:pt idx="285">
                  <c:v>78.874866690366005</c:v>
                </c:pt>
                <c:pt idx="286">
                  <c:v>43.386119779064003</c:v>
                </c:pt>
                <c:pt idx="287">
                  <c:v>106.588875487363</c:v>
                </c:pt>
                <c:pt idx="288">
                  <c:v>139.880021607483</c:v>
                </c:pt>
                <c:pt idx="289">
                  <c:v>91.167052227325001</c:v>
                </c:pt>
                <c:pt idx="290">
                  <c:v>120.36258508886</c:v>
                </c:pt>
                <c:pt idx="291">
                  <c:v>141.67954662545</c:v>
                </c:pt>
                <c:pt idx="292">
                  <c:v>94.541824481047001</c:v>
                </c:pt>
                <c:pt idx="293">
                  <c:v>65.855623305834001</c:v>
                </c:pt>
                <c:pt idx="294">
                  <c:v>141.19936400958699</c:v>
                </c:pt>
                <c:pt idx="295">
                  <c:v>163.14974987703701</c:v>
                </c:pt>
                <c:pt idx="296">
                  <c:v>113.371811038898</c:v>
                </c:pt>
                <c:pt idx="297">
                  <c:v>160.73521021343399</c:v>
                </c:pt>
                <c:pt idx="298">
                  <c:v>129.681372241921</c:v>
                </c:pt>
                <c:pt idx="299">
                  <c:v>88.003268692836997</c:v>
                </c:pt>
                <c:pt idx="300">
                  <c:v>71.861269927319</c:v>
                </c:pt>
                <c:pt idx="301">
                  <c:v>149.03414410455301</c:v>
                </c:pt>
                <c:pt idx="302">
                  <c:v>118.505542066247</c:v>
                </c:pt>
                <c:pt idx="303">
                  <c:v>123.07491941523099</c:v>
                </c:pt>
                <c:pt idx="304">
                  <c:v>98.343992766105998</c:v>
                </c:pt>
                <c:pt idx="305">
                  <c:v>121.73019179267899</c:v>
                </c:pt>
                <c:pt idx="306">
                  <c:v>71.27874060648</c:v>
                </c:pt>
                <c:pt idx="307">
                  <c:v>51.718271520925001</c:v>
                </c:pt>
                <c:pt idx="308">
                  <c:v>139.60525410906999</c:v>
                </c:pt>
                <c:pt idx="309">
                  <c:v>120.393051998663</c:v>
                </c:pt>
                <c:pt idx="310">
                  <c:v>98.727125277669998</c:v>
                </c:pt>
                <c:pt idx="311">
                  <c:v>90.067550662996993</c:v>
                </c:pt>
                <c:pt idx="312">
                  <c:v>84.755050597302997</c:v>
                </c:pt>
                <c:pt idx="313">
                  <c:v>65.334527462523994</c:v>
                </c:pt>
                <c:pt idx="314">
                  <c:v>55.953941071665</c:v>
                </c:pt>
                <c:pt idx="315">
                  <c:v>79.551537500742995</c:v>
                </c:pt>
                <c:pt idx="316">
                  <c:v>103.67287451825899</c:v>
                </c:pt>
                <c:pt idx="317">
                  <c:v>60.027658313449997</c:v>
                </c:pt>
                <c:pt idx="318">
                  <c:v>56.216549227984999</c:v>
                </c:pt>
                <c:pt idx="319">
                  <c:v>61.953495667176</c:v>
                </c:pt>
                <c:pt idx="320">
                  <c:v>45.650240450835</c:v>
                </c:pt>
                <c:pt idx="321">
                  <c:v>31.568396877885</c:v>
                </c:pt>
                <c:pt idx="322">
                  <c:v>79.722565472156006</c:v>
                </c:pt>
                <c:pt idx="323">
                  <c:v>74.891286841680994</c:v>
                </c:pt>
                <c:pt idx="324">
                  <c:v>39.808917197451997</c:v>
                </c:pt>
                <c:pt idx="325">
                  <c:v>61.972520079911</c:v>
                </c:pt>
                <c:pt idx="326">
                  <c:v>20.389521417152999</c:v>
                </c:pt>
                <c:pt idx="327">
                  <c:v>13.866910289247</c:v>
                </c:pt>
                <c:pt idx="328">
                  <c:v>18.766624781735</c:v>
                </c:pt>
                <c:pt idx="329">
                  <c:v>69.891544767590005</c:v>
                </c:pt>
                <c:pt idx="330">
                  <c:v>77.119543584979994</c:v>
                </c:pt>
                <c:pt idx="331">
                  <c:v>33.477285661678003</c:v>
                </c:pt>
                <c:pt idx="332">
                  <c:v>61.572719068143002</c:v>
                </c:pt>
                <c:pt idx="333">
                  <c:v>46.475862127242003</c:v>
                </c:pt>
                <c:pt idx="334">
                  <c:v>14.375835066889</c:v>
                </c:pt>
                <c:pt idx="335">
                  <c:v>29.659006169072999</c:v>
                </c:pt>
                <c:pt idx="336">
                  <c:v>90.650976635993004</c:v>
                </c:pt>
                <c:pt idx="337">
                  <c:v>76.115349352153999</c:v>
                </c:pt>
                <c:pt idx="338">
                  <c:v>54.265058553747998</c:v>
                </c:pt>
                <c:pt idx="339">
                  <c:v>48.814257313262999</c:v>
                </c:pt>
                <c:pt idx="340">
                  <c:v>54.507794614628999</c:v>
                </c:pt>
                <c:pt idx="341">
                  <c:v>33.762512660942001</c:v>
                </c:pt>
                <c:pt idx="342">
                  <c:v>21.043578506271</c:v>
                </c:pt>
                <c:pt idx="343">
                  <c:v>54.499436531249003</c:v>
                </c:pt>
                <c:pt idx="344">
                  <c:v>92.405913978493999</c:v>
                </c:pt>
                <c:pt idx="345">
                  <c:v>113.348698379113</c:v>
                </c:pt>
                <c:pt idx="346">
                  <c:v>85.025077621207998</c:v>
                </c:pt>
                <c:pt idx="347">
                  <c:v>85.431916587383</c:v>
                </c:pt>
                <c:pt idx="348">
                  <c:v>81.860175024849994</c:v>
                </c:pt>
                <c:pt idx="349">
                  <c:v>57.629005948485002</c:v>
                </c:pt>
                <c:pt idx="350">
                  <c:v>192.81280434419</c:v>
                </c:pt>
                <c:pt idx="351">
                  <c:v>218.03117845851901</c:v>
                </c:pt>
                <c:pt idx="352">
                  <c:v>246.735992488037</c:v>
                </c:pt>
                <c:pt idx="353">
                  <c:v>245.69777160176801</c:v>
                </c:pt>
                <c:pt idx="354">
                  <c:v>200.44158196229199</c:v>
                </c:pt>
                <c:pt idx="355">
                  <c:v>137.637127360221</c:v>
                </c:pt>
                <c:pt idx="356">
                  <c:v>155.22083226959401</c:v>
                </c:pt>
                <c:pt idx="357">
                  <c:v>291.029504015795</c:v>
                </c:pt>
                <c:pt idx="358">
                  <c:v>276.22880435344803</c:v>
                </c:pt>
                <c:pt idx="359">
                  <c:v>328.19679304847898</c:v>
                </c:pt>
                <c:pt idx="360">
                  <c:v>593.82672010407703</c:v>
                </c:pt>
                <c:pt idx="361">
                  <c:v>431.71572527181098</c:v>
                </c:pt>
                <c:pt idx="362">
                  <c:v>157.34135632501599</c:v>
                </c:pt>
                <c:pt idx="363">
                  <c:v>219.323928666489</c:v>
                </c:pt>
                <c:pt idx="364">
                  <c:v>407.94475078965598</c:v>
                </c:pt>
                <c:pt idx="365">
                  <c:v>498.76383962162703</c:v>
                </c:pt>
                <c:pt idx="366">
                  <c:v>368.99572741789302</c:v>
                </c:pt>
                <c:pt idx="367">
                  <c:v>368.12074360390199</c:v>
                </c:pt>
                <c:pt idx="368">
                  <c:v>294.946724567646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A0B-4754-90A8-6FC4E50C7F8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70</c:f>
              <c:numCache>
                <c:formatCode>m/d/yyyy</c:formatCode>
                <c:ptCount val="36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</c:numCache>
            </c:numRef>
          </c:cat>
          <c:val>
            <c:numRef>
              <c:f>List1!$D$2:$D$370</c:f>
              <c:numCache>
                <c:formatCode>General</c:formatCode>
                <c:ptCount val="369"/>
                <c:pt idx="203">
                  <c:v>0</c:v>
                </c:pt>
                <c:pt idx="220">
                  <c:v>0</c:v>
                </c:pt>
                <c:pt idx="226">
                  <c:v>0</c:v>
                </c:pt>
                <c:pt idx="228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13.861935126143001</c:v>
                </c:pt>
                <c:pt idx="247">
                  <c:v>11.591515011010999</c:v>
                </c:pt>
                <c:pt idx="248">
                  <c:v>0</c:v>
                </c:pt>
                <c:pt idx="249">
                  <c:v>0</c:v>
                </c:pt>
                <c:pt idx="250">
                  <c:v>7.9503895690880002</c:v>
                </c:pt>
                <c:pt idx="251">
                  <c:v>0</c:v>
                </c:pt>
                <c:pt idx="252">
                  <c:v>0</c:v>
                </c:pt>
                <c:pt idx="253">
                  <c:v>6.5733254453420003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4.8074611797499998</c:v>
                </c:pt>
                <c:pt idx="258">
                  <c:v>0</c:v>
                </c:pt>
                <c:pt idx="259">
                  <c:v>4.4754744002860001</c:v>
                </c:pt>
                <c:pt idx="260">
                  <c:v>8.3945435466940008</c:v>
                </c:pt>
                <c:pt idx="261">
                  <c:v>11.681333229499</c:v>
                </c:pt>
                <c:pt idx="262">
                  <c:v>0</c:v>
                </c:pt>
                <c:pt idx="263">
                  <c:v>6.4649599172479997</c:v>
                </c:pt>
                <c:pt idx="264">
                  <c:v>6.371252906884</c:v>
                </c:pt>
                <c:pt idx="265">
                  <c:v>0</c:v>
                </c:pt>
                <c:pt idx="266">
                  <c:v>17.877893984088001</c:v>
                </c:pt>
                <c:pt idx="267">
                  <c:v>11.242902917533</c:v>
                </c:pt>
                <c:pt idx="268">
                  <c:v>15.523932729624001</c:v>
                </c:pt>
                <c:pt idx="269">
                  <c:v>10.251415976831</c:v>
                </c:pt>
                <c:pt idx="270">
                  <c:v>26.752273943285001</c:v>
                </c:pt>
                <c:pt idx="271">
                  <c:v>14.472827266806</c:v>
                </c:pt>
                <c:pt idx="272">
                  <c:v>9.5751047277070001</c:v>
                </c:pt>
                <c:pt idx="273">
                  <c:v>29.928402053548002</c:v>
                </c:pt>
                <c:pt idx="274">
                  <c:v>15.430738030156</c:v>
                </c:pt>
                <c:pt idx="275">
                  <c:v>18.893670620342</c:v>
                </c:pt>
                <c:pt idx="276">
                  <c:v>13.850963631326</c:v>
                </c:pt>
                <c:pt idx="277">
                  <c:v>29.479502533394001</c:v>
                </c:pt>
                <c:pt idx="278">
                  <c:v>21.893415555271002</c:v>
                </c:pt>
                <c:pt idx="279">
                  <c:v>7.2583425574770004</c:v>
                </c:pt>
                <c:pt idx="280">
                  <c:v>29.933266423677999</c:v>
                </c:pt>
                <c:pt idx="281">
                  <c:v>47.762823465192</c:v>
                </c:pt>
                <c:pt idx="282">
                  <c:v>27.975250131648</c:v>
                </c:pt>
                <c:pt idx="283">
                  <c:v>30.235518777848</c:v>
                </c:pt>
                <c:pt idx="284">
                  <c:v>46.799516908211999</c:v>
                </c:pt>
                <c:pt idx="285">
                  <c:v>18.012068085616999</c:v>
                </c:pt>
                <c:pt idx="286">
                  <c:v>11.964405892468999</c:v>
                </c:pt>
                <c:pt idx="287">
                  <c:v>54.107014901364003</c:v>
                </c:pt>
                <c:pt idx="288">
                  <c:v>57.938246308202999</c:v>
                </c:pt>
                <c:pt idx="289">
                  <c:v>26.715410573678</c:v>
                </c:pt>
                <c:pt idx="290">
                  <c:v>30.148550128816002</c:v>
                </c:pt>
                <c:pt idx="291">
                  <c:v>59.368321063880003</c:v>
                </c:pt>
                <c:pt idx="292">
                  <c:v>20.969031361807001</c:v>
                </c:pt>
                <c:pt idx="293">
                  <c:v>19.602462069234999</c:v>
                </c:pt>
                <c:pt idx="294">
                  <c:v>44.856842590931002</c:v>
                </c:pt>
                <c:pt idx="295">
                  <c:v>56.351432578641003</c:v>
                </c:pt>
                <c:pt idx="296">
                  <c:v>31.854156967483998</c:v>
                </c:pt>
                <c:pt idx="297">
                  <c:v>55.052239788407</c:v>
                </c:pt>
                <c:pt idx="298">
                  <c:v>40.263206331676002</c:v>
                </c:pt>
                <c:pt idx="299">
                  <c:v>28.585476291205001</c:v>
                </c:pt>
                <c:pt idx="300">
                  <c:v>26.167586324590999</c:v>
                </c:pt>
                <c:pt idx="301">
                  <c:v>50.270904317712002</c:v>
                </c:pt>
                <c:pt idx="302">
                  <c:v>40.547500849305003</c:v>
                </c:pt>
                <c:pt idx="303">
                  <c:v>49.500156033099998</c:v>
                </c:pt>
                <c:pt idx="304">
                  <c:v>43.171982436373</c:v>
                </c:pt>
                <c:pt idx="305">
                  <c:v>45.641722620037001</c:v>
                </c:pt>
                <c:pt idx="306">
                  <c:v>22.191512755076001</c:v>
                </c:pt>
                <c:pt idx="307">
                  <c:v>24.125452352231001</c:v>
                </c:pt>
                <c:pt idx="308">
                  <c:v>51.483109579817999</c:v>
                </c:pt>
                <c:pt idx="309">
                  <c:v>41.868707522735001</c:v>
                </c:pt>
                <c:pt idx="310">
                  <c:v>30.599462596938</c:v>
                </c:pt>
                <c:pt idx="311">
                  <c:v>37.568915479331999</c:v>
                </c:pt>
                <c:pt idx="312">
                  <c:v>26.487646709593999</c:v>
                </c:pt>
                <c:pt idx="313">
                  <c:v>15.438825922695999</c:v>
                </c:pt>
                <c:pt idx="314">
                  <c:v>9.0504289903339998</c:v>
                </c:pt>
                <c:pt idx="315">
                  <c:v>39.356696899764998</c:v>
                </c:pt>
                <c:pt idx="316">
                  <c:v>37.994256682128999</c:v>
                </c:pt>
                <c:pt idx="317">
                  <c:v>34.884532198423003</c:v>
                </c:pt>
                <c:pt idx="318">
                  <c:v>15.463917525773001</c:v>
                </c:pt>
                <c:pt idx="319">
                  <c:v>32.007007850138997</c:v>
                </c:pt>
                <c:pt idx="320">
                  <c:v>15.943609968951</c:v>
                </c:pt>
                <c:pt idx="321">
                  <c:v>14.226179517647999</c:v>
                </c:pt>
                <c:pt idx="322">
                  <c:v>26.499718440491002</c:v>
                </c:pt>
                <c:pt idx="323">
                  <c:v>29.509406123201</c:v>
                </c:pt>
                <c:pt idx="324">
                  <c:v>17.875860275775</c:v>
                </c:pt>
                <c:pt idx="325">
                  <c:v>19.431939631439999</c:v>
                </c:pt>
                <c:pt idx="326">
                  <c:v>5.6673278549160004</c:v>
                </c:pt>
                <c:pt idx="327">
                  <c:v>4.8576309333929997</c:v>
                </c:pt>
                <c:pt idx="328">
                  <c:v>7.2852667621840004</c:v>
                </c:pt>
                <c:pt idx="329">
                  <c:v>28.121032925712001</c:v>
                </c:pt>
                <c:pt idx="330">
                  <c:v>29.488885878011001</c:v>
                </c:pt>
                <c:pt idx="331">
                  <c:v>27.654211736446999</c:v>
                </c:pt>
                <c:pt idx="332">
                  <c:v>15.689720095393</c:v>
                </c:pt>
                <c:pt idx="333">
                  <c:v>25.063638143723999</c:v>
                </c:pt>
                <c:pt idx="334">
                  <c:v>5.4823273262679999</c:v>
                </c:pt>
                <c:pt idx="335">
                  <c:v>25.811295961705</c:v>
                </c:pt>
                <c:pt idx="336">
                  <c:v>60.536446044952001</c:v>
                </c:pt>
                <c:pt idx="337">
                  <c:v>50.734887153311</c:v>
                </c:pt>
                <c:pt idx="338">
                  <c:v>37.299515106302998</c:v>
                </c:pt>
                <c:pt idx="339">
                  <c:v>39.135113981019003</c:v>
                </c:pt>
                <c:pt idx="340">
                  <c:v>45.054693443433997</c:v>
                </c:pt>
                <c:pt idx="341">
                  <c:v>23.564238322815001</c:v>
                </c:pt>
                <c:pt idx="342">
                  <c:v>27.203282039215999</c:v>
                </c:pt>
                <c:pt idx="343">
                  <c:v>62.056025640088997</c:v>
                </c:pt>
                <c:pt idx="344">
                  <c:v>76.077584645369001</c:v>
                </c:pt>
                <c:pt idx="345">
                  <c:v>91.950059623865997</c:v>
                </c:pt>
                <c:pt idx="346">
                  <c:v>64.851305221599006</c:v>
                </c:pt>
                <c:pt idx="347">
                  <c:v>79.626810981453005</c:v>
                </c:pt>
                <c:pt idx="348">
                  <c:v>53.436456319211999</c:v>
                </c:pt>
                <c:pt idx="349">
                  <c:v>58.293885463050003</c:v>
                </c:pt>
                <c:pt idx="350">
                  <c:v>189.47206510567699</c:v>
                </c:pt>
                <c:pt idx="351">
                  <c:v>181.627128551645</c:v>
                </c:pt>
                <c:pt idx="352">
                  <c:v>223.65478226549101</c:v>
                </c:pt>
                <c:pt idx="353">
                  <c:v>206.699830506138</c:v>
                </c:pt>
                <c:pt idx="354">
                  <c:v>231.370562545349</c:v>
                </c:pt>
                <c:pt idx="355">
                  <c:v>125.16586186613399</c:v>
                </c:pt>
                <c:pt idx="356">
                  <c:v>140.81907483235</c:v>
                </c:pt>
                <c:pt idx="357">
                  <c:v>354.68235165972197</c:v>
                </c:pt>
                <c:pt idx="358">
                  <c:v>312.76289722923201</c:v>
                </c:pt>
                <c:pt idx="359">
                  <c:v>349.32904498709399</c:v>
                </c:pt>
                <c:pt idx="360">
                  <c:v>436.78996392612902</c:v>
                </c:pt>
                <c:pt idx="361">
                  <c:v>407.23528035039601</c:v>
                </c:pt>
                <c:pt idx="362">
                  <c:v>161.01230641777599</c:v>
                </c:pt>
                <c:pt idx="363">
                  <c:v>231.738102552458</c:v>
                </c:pt>
                <c:pt idx="364">
                  <c:v>451.42819095811899</c:v>
                </c:pt>
                <c:pt idx="365">
                  <c:v>504.188283434857</c:v>
                </c:pt>
                <c:pt idx="366">
                  <c:v>400.34732118592899</c:v>
                </c:pt>
                <c:pt idx="367">
                  <c:v>349.92095358420897</c:v>
                </c:pt>
                <c:pt idx="368">
                  <c:v>292.13735071649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A0B-4754-90A8-6FC4E50C7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414</c:v>
                </c:pt>
                <c:pt idx="1">
                  <c:v>44415</c:v>
                </c:pt>
                <c:pt idx="2">
                  <c:v>44416</c:v>
                </c:pt>
                <c:pt idx="3">
                  <c:v>44417</c:v>
                </c:pt>
                <c:pt idx="4">
                  <c:v>44418</c:v>
                </c:pt>
                <c:pt idx="5">
                  <c:v>44419</c:v>
                </c:pt>
                <c:pt idx="6">
                  <c:v>44420</c:v>
                </c:pt>
                <c:pt idx="7">
                  <c:v>44421</c:v>
                </c:pt>
                <c:pt idx="8">
                  <c:v>44422</c:v>
                </c:pt>
                <c:pt idx="9">
                  <c:v>44423</c:v>
                </c:pt>
                <c:pt idx="10">
                  <c:v>44424</c:v>
                </c:pt>
                <c:pt idx="11">
                  <c:v>44425</c:v>
                </c:pt>
                <c:pt idx="12">
                  <c:v>44426</c:v>
                </c:pt>
                <c:pt idx="13">
                  <c:v>44427</c:v>
                </c:pt>
                <c:pt idx="14">
                  <c:v>44428</c:v>
                </c:pt>
                <c:pt idx="15">
                  <c:v>44429</c:v>
                </c:pt>
                <c:pt idx="16">
                  <c:v>44430</c:v>
                </c:pt>
                <c:pt idx="17">
                  <c:v>44431</c:v>
                </c:pt>
                <c:pt idx="18">
                  <c:v>44432</c:v>
                </c:pt>
                <c:pt idx="19">
                  <c:v>44433</c:v>
                </c:pt>
                <c:pt idx="20">
                  <c:v>44434</c:v>
                </c:pt>
                <c:pt idx="21">
                  <c:v>44435</c:v>
                </c:pt>
                <c:pt idx="22">
                  <c:v>44436</c:v>
                </c:pt>
                <c:pt idx="23">
                  <c:v>44437</c:v>
                </c:pt>
                <c:pt idx="24">
                  <c:v>44438</c:v>
                </c:pt>
                <c:pt idx="25">
                  <c:v>44439</c:v>
                </c:pt>
                <c:pt idx="26">
                  <c:v>44440</c:v>
                </c:pt>
                <c:pt idx="27">
                  <c:v>44441</c:v>
                </c:pt>
                <c:pt idx="28">
                  <c:v>44442</c:v>
                </c:pt>
                <c:pt idx="29">
                  <c:v>44443</c:v>
                </c:pt>
                <c:pt idx="30">
                  <c:v>44444</c:v>
                </c:pt>
                <c:pt idx="31">
                  <c:v>44445</c:v>
                </c:pt>
                <c:pt idx="32">
                  <c:v>44446</c:v>
                </c:pt>
                <c:pt idx="33">
                  <c:v>44447</c:v>
                </c:pt>
                <c:pt idx="34">
                  <c:v>44448</c:v>
                </c:pt>
                <c:pt idx="35">
                  <c:v>44449</c:v>
                </c:pt>
                <c:pt idx="36">
                  <c:v>44450</c:v>
                </c:pt>
                <c:pt idx="37">
                  <c:v>44451</c:v>
                </c:pt>
                <c:pt idx="38">
                  <c:v>44452</c:v>
                </c:pt>
                <c:pt idx="39">
                  <c:v>44453</c:v>
                </c:pt>
                <c:pt idx="40">
                  <c:v>44454</c:v>
                </c:pt>
                <c:pt idx="41">
                  <c:v>44455</c:v>
                </c:pt>
                <c:pt idx="42">
                  <c:v>44456</c:v>
                </c:pt>
                <c:pt idx="43">
                  <c:v>44457</c:v>
                </c:pt>
                <c:pt idx="44">
                  <c:v>44458</c:v>
                </c:pt>
                <c:pt idx="45">
                  <c:v>44459</c:v>
                </c:pt>
                <c:pt idx="46">
                  <c:v>44460</c:v>
                </c:pt>
                <c:pt idx="47">
                  <c:v>44461</c:v>
                </c:pt>
                <c:pt idx="48">
                  <c:v>44462</c:v>
                </c:pt>
                <c:pt idx="49">
                  <c:v>44463</c:v>
                </c:pt>
                <c:pt idx="50">
                  <c:v>44464</c:v>
                </c:pt>
                <c:pt idx="51">
                  <c:v>44465</c:v>
                </c:pt>
                <c:pt idx="52">
                  <c:v>44466</c:v>
                </c:pt>
                <c:pt idx="53">
                  <c:v>44467</c:v>
                </c:pt>
                <c:pt idx="54">
                  <c:v>44468</c:v>
                </c:pt>
                <c:pt idx="55">
                  <c:v>44469</c:v>
                </c:pt>
                <c:pt idx="56">
                  <c:v>44470</c:v>
                </c:pt>
                <c:pt idx="57">
                  <c:v>44471</c:v>
                </c:pt>
                <c:pt idx="58">
                  <c:v>44472</c:v>
                </c:pt>
                <c:pt idx="59">
                  <c:v>44473</c:v>
                </c:pt>
                <c:pt idx="60">
                  <c:v>44474</c:v>
                </c:pt>
                <c:pt idx="61">
                  <c:v>44475</c:v>
                </c:pt>
                <c:pt idx="62">
                  <c:v>44476</c:v>
                </c:pt>
                <c:pt idx="63">
                  <c:v>44477</c:v>
                </c:pt>
                <c:pt idx="64">
                  <c:v>44478</c:v>
                </c:pt>
                <c:pt idx="65">
                  <c:v>44479</c:v>
                </c:pt>
                <c:pt idx="66">
                  <c:v>44480</c:v>
                </c:pt>
                <c:pt idx="67">
                  <c:v>44481</c:v>
                </c:pt>
                <c:pt idx="68">
                  <c:v>44482</c:v>
                </c:pt>
                <c:pt idx="69">
                  <c:v>44483</c:v>
                </c:pt>
                <c:pt idx="70">
                  <c:v>44484</c:v>
                </c:pt>
                <c:pt idx="71">
                  <c:v>44485</c:v>
                </c:pt>
                <c:pt idx="72">
                  <c:v>44486</c:v>
                </c:pt>
                <c:pt idx="73">
                  <c:v>44487</c:v>
                </c:pt>
                <c:pt idx="74">
                  <c:v>44488</c:v>
                </c:pt>
                <c:pt idx="75">
                  <c:v>44489</c:v>
                </c:pt>
                <c:pt idx="76">
                  <c:v>44490</c:v>
                </c:pt>
                <c:pt idx="77">
                  <c:v>44491</c:v>
                </c:pt>
                <c:pt idx="78">
                  <c:v>44492</c:v>
                </c:pt>
                <c:pt idx="79">
                  <c:v>44493</c:v>
                </c:pt>
                <c:pt idx="80">
                  <c:v>44494</c:v>
                </c:pt>
                <c:pt idx="81">
                  <c:v>44495</c:v>
                </c:pt>
                <c:pt idx="82">
                  <c:v>44496</c:v>
                </c:pt>
                <c:pt idx="83">
                  <c:v>44497</c:v>
                </c:pt>
                <c:pt idx="84">
                  <c:v>44498</c:v>
                </c:pt>
                <c:pt idx="85">
                  <c:v>44499</c:v>
                </c:pt>
                <c:pt idx="86">
                  <c:v>44500</c:v>
                </c:pt>
                <c:pt idx="87">
                  <c:v>44501</c:v>
                </c:pt>
                <c:pt idx="88">
                  <c:v>44502</c:v>
                </c:pt>
                <c:pt idx="89">
                  <c:v>44503</c:v>
                </c:pt>
                <c:pt idx="90">
                  <c:v>44504</c:v>
                </c:pt>
                <c:pt idx="91">
                  <c:v>44505</c:v>
                </c:pt>
                <c:pt idx="92">
                  <c:v>44506</c:v>
                </c:pt>
                <c:pt idx="93">
                  <c:v>44507</c:v>
                </c:pt>
                <c:pt idx="94">
                  <c:v>44508</c:v>
                </c:pt>
                <c:pt idx="95">
                  <c:v>44509</c:v>
                </c:pt>
                <c:pt idx="96">
                  <c:v>44510</c:v>
                </c:pt>
                <c:pt idx="97">
                  <c:v>44511</c:v>
                </c:pt>
                <c:pt idx="98">
                  <c:v>44512</c:v>
                </c:pt>
                <c:pt idx="99">
                  <c:v>44513</c:v>
                </c:pt>
                <c:pt idx="100">
                  <c:v>44514</c:v>
                </c:pt>
                <c:pt idx="101">
                  <c:v>44515</c:v>
                </c:pt>
                <c:pt idx="102">
                  <c:v>44516</c:v>
                </c:pt>
                <c:pt idx="103">
                  <c:v>44517</c:v>
                </c:pt>
                <c:pt idx="104">
                  <c:v>44518</c:v>
                </c:pt>
                <c:pt idx="105">
                  <c:v>44519</c:v>
                </c:pt>
                <c:pt idx="106">
                  <c:v>44520</c:v>
                </c:pt>
                <c:pt idx="107">
                  <c:v>44521</c:v>
                </c:pt>
                <c:pt idx="108">
                  <c:v>44522</c:v>
                </c:pt>
                <c:pt idx="109">
                  <c:v>44523</c:v>
                </c:pt>
                <c:pt idx="110">
                  <c:v>44524</c:v>
                </c:pt>
                <c:pt idx="111">
                  <c:v>44525</c:v>
                </c:pt>
                <c:pt idx="112">
                  <c:v>44526</c:v>
                </c:pt>
                <c:pt idx="113">
                  <c:v>44527</c:v>
                </c:pt>
                <c:pt idx="114">
                  <c:v>44528</c:v>
                </c:pt>
                <c:pt idx="115">
                  <c:v>44529</c:v>
                </c:pt>
                <c:pt idx="116">
                  <c:v>44530</c:v>
                </c:pt>
                <c:pt idx="117">
                  <c:v>44531</c:v>
                </c:pt>
                <c:pt idx="118">
                  <c:v>44532</c:v>
                </c:pt>
                <c:pt idx="119">
                  <c:v>44533</c:v>
                </c:pt>
                <c:pt idx="120">
                  <c:v>44534</c:v>
                </c:pt>
                <c:pt idx="121">
                  <c:v>44535</c:v>
                </c:pt>
                <c:pt idx="122">
                  <c:v>44536</c:v>
                </c:pt>
                <c:pt idx="123">
                  <c:v>44537</c:v>
                </c:pt>
                <c:pt idx="124">
                  <c:v>44538</c:v>
                </c:pt>
                <c:pt idx="125">
                  <c:v>44539</c:v>
                </c:pt>
                <c:pt idx="126">
                  <c:v>44540</c:v>
                </c:pt>
                <c:pt idx="127">
                  <c:v>44541</c:v>
                </c:pt>
                <c:pt idx="128">
                  <c:v>44542</c:v>
                </c:pt>
                <c:pt idx="129">
                  <c:v>44543</c:v>
                </c:pt>
                <c:pt idx="130">
                  <c:v>44544</c:v>
                </c:pt>
                <c:pt idx="131">
                  <c:v>44545</c:v>
                </c:pt>
                <c:pt idx="132">
                  <c:v>44546</c:v>
                </c:pt>
                <c:pt idx="133">
                  <c:v>44547</c:v>
                </c:pt>
                <c:pt idx="134">
                  <c:v>44548</c:v>
                </c:pt>
                <c:pt idx="135">
                  <c:v>44549</c:v>
                </c:pt>
                <c:pt idx="136">
                  <c:v>44550</c:v>
                </c:pt>
                <c:pt idx="137">
                  <c:v>44551</c:v>
                </c:pt>
                <c:pt idx="138">
                  <c:v>44552</c:v>
                </c:pt>
                <c:pt idx="139">
                  <c:v>44553</c:v>
                </c:pt>
                <c:pt idx="140">
                  <c:v>44554</c:v>
                </c:pt>
                <c:pt idx="141">
                  <c:v>44555</c:v>
                </c:pt>
                <c:pt idx="142">
                  <c:v>44556</c:v>
                </c:pt>
                <c:pt idx="143">
                  <c:v>44557</c:v>
                </c:pt>
                <c:pt idx="144">
                  <c:v>44558</c:v>
                </c:pt>
                <c:pt idx="145">
                  <c:v>44559</c:v>
                </c:pt>
                <c:pt idx="146">
                  <c:v>44560</c:v>
                </c:pt>
                <c:pt idx="147">
                  <c:v>44561</c:v>
                </c:pt>
                <c:pt idx="148">
                  <c:v>44562</c:v>
                </c:pt>
                <c:pt idx="149">
                  <c:v>44563</c:v>
                </c:pt>
                <c:pt idx="150">
                  <c:v>44564</c:v>
                </c:pt>
                <c:pt idx="151">
                  <c:v>44565</c:v>
                </c:pt>
                <c:pt idx="152">
                  <c:v>44566</c:v>
                </c:pt>
                <c:pt idx="153">
                  <c:v>44567</c:v>
                </c:pt>
                <c:pt idx="154">
                  <c:v>44568</c:v>
                </c:pt>
                <c:pt idx="155">
                  <c:v>44569</c:v>
                </c:pt>
                <c:pt idx="156">
                  <c:v>44570</c:v>
                </c:pt>
                <c:pt idx="157">
                  <c:v>44571</c:v>
                </c:pt>
                <c:pt idx="158">
                  <c:v>44572</c:v>
                </c:pt>
                <c:pt idx="159">
                  <c:v>44573</c:v>
                </c:pt>
                <c:pt idx="160">
                  <c:v>44574</c:v>
                </c:pt>
                <c:pt idx="161">
                  <c:v>44575</c:v>
                </c:pt>
                <c:pt idx="162">
                  <c:v>44576</c:v>
                </c:pt>
                <c:pt idx="163">
                  <c:v>44577</c:v>
                </c:pt>
                <c:pt idx="164">
                  <c:v>44578</c:v>
                </c:pt>
                <c:pt idx="165">
                  <c:v>44579</c:v>
                </c:pt>
                <c:pt idx="166">
                  <c:v>44580</c:v>
                </c:pt>
                <c:pt idx="167">
                  <c:v>44581</c:v>
                </c:pt>
                <c:pt idx="168">
                  <c:v>44582</c:v>
                </c:pt>
                <c:pt idx="169">
                  <c:v>44583</c:v>
                </c:pt>
                <c:pt idx="170">
                  <c:v>44584</c:v>
                </c:pt>
                <c:pt idx="171">
                  <c:v>44585</c:v>
                </c:pt>
                <c:pt idx="172">
                  <c:v>44586</c:v>
                </c:pt>
                <c:pt idx="173">
                  <c:v>44587</c:v>
                </c:pt>
                <c:pt idx="174">
                  <c:v>44588</c:v>
                </c:pt>
                <c:pt idx="175">
                  <c:v>44589</c:v>
                </c:pt>
                <c:pt idx="176">
                  <c:v>44590</c:v>
                </c:pt>
                <c:pt idx="177">
                  <c:v>44591</c:v>
                </c:pt>
                <c:pt idx="178">
                  <c:v>44592</c:v>
                </c:pt>
                <c:pt idx="179">
                  <c:v>44593</c:v>
                </c:pt>
                <c:pt idx="180">
                  <c:v>44594</c:v>
                </c:pt>
                <c:pt idx="181">
                  <c:v>44595</c:v>
                </c:pt>
                <c:pt idx="182">
                  <c:v>44596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5</c:v>
                </c:pt>
                <c:pt idx="27">
                  <c:v>1</c:v>
                </c:pt>
                <c:pt idx="28">
                  <c:v>1</c:v>
                </c:pt>
                <c:pt idx="29">
                  <c:v>0</c:v>
                </c:pt>
                <c:pt idx="30">
                  <c:v>0</c:v>
                </c:pt>
                <c:pt idx="31">
                  <c:v>1</c:v>
                </c:pt>
                <c:pt idx="32">
                  <c:v>2</c:v>
                </c:pt>
                <c:pt idx="33">
                  <c:v>1</c:v>
                </c:pt>
                <c:pt idx="34">
                  <c:v>1</c:v>
                </c:pt>
                <c:pt idx="35">
                  <c:v>0</c:v>
                </c:pt>
                <c:pt idx="36">
                  <c:v>0</c:v>
                </c:pt>
                <c:pt idx="37">
                  <c:v>1</c:v>
                </c:pt>
                <c:pt idx="38">
                  <c:v>0</c:v>
                </c:pt>
                <c:pt idx="39">
                  <c:v>1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1</c:v>
                </c:pt>
                <c:pt idx="44">
                  <c:v>0</c:v>
                </c:pt>
                <c:pt idx="45">
                  <c:v>4</c:v>
                </c:pt>
                <c:pt idx="46">
                  <c:v>4</c:v>
                </c:pt>
                <c:pt idx="47">
                  <c:v>2</c:v>
                </c:pt>
                <c:pt idx="48">
                  <c:v>0</c:v>
                </c:pt>
                <c:pt idx="49">
                  <c:v>0</c:v>
                </c:pt>
                <c:pt idx="50">
                  <c:v>1</c:v>
                </c:pt>
                <c:pt idx="51">
                  <c:v>1</c:v>
                </c:pt>
                <c:pt idx="52">
                  <c:v>5</c:v>
                </c:pt>
                <c:pt idx="53">
                  <c:v>2</c:v>
                </c:pt>
                <c:pt idx="54">
                  <c:v>7</c:v>
                </c:pt>
                <c:pt idx="55">
                  <c:v>3</c:v>
                </c:pt>
                <c:pt idx="56">
                  <c:v>2</c:v>
                </c:pt>
                <c:pt idx="57">
                  <c:v>0</c:v>
                </c:pt>
                <c:pt idx="58">
                  <c:v>0</c:v>
                </c:pt>
                <c:pt idx="59">
                  <c:v>3</c:v>
                </c:pt>
                <c:pt idx="60">
                  <c:v>5</c:v>
                </c:pt>
                <c:pt idx="61">
                  <c:v>2</c:v>
                </c:pt>
                <c:pt idx="62">
                  <c:v>1</c:v>
                </c:pt>
                <c:pt idx="63">
                  <c:v>2</c:v>
                </c:pt>
                <c:pt idx="64">
                  <c:v>1</c:v>
                </c:pt>
                <c:pt idx="65">
                  <c:v>0</c:v>
                </c:pt>
                <c:pt idx="66">
                  <c:v>2</c:v>
                </c:pt>
                <c:pt idx="67">
                  <c:v>3</c:v>
                </c:pt>
                <c:pt idx="68">
                  <c:v>1</c:v>
                </c:pt>
                <c:pt idx="69">
                  <c:v>3</c:v>
                </c:pt>
                <c:pt idx="70">
                  <c:v>6</c:v>
                </c:pt>
                <c:pt idx="71">
                  <c:v>2</c:v>
                </c:pt>
                <c:pt idx="72">
                  <c:v>1</c:v>
                </c:pt>
                <c:pt idx="73">
                  <c:v>12</c:v>
                </c:pt>
                <c:pt idx="74">
                  <c:v>8</c:v>
                </c:pt>
                <c:pt idx="75">
                  <c:v>11</c:v>
                </c:pt>
                <c:pt idx="76">
                  <c:v>7</c:v>
                </c:pt>
                <c:pt idx="77">
                  <c:v>10</c:v>
                </c:pt>
                <c:pt idx="78">
                  <c:v>0</c:v>
                </c:pt>
                <c:pt idx="79">
                  <c:v>3</c:v>
                </c:pt>
                <c:pt idx="80">
                  <c:v>19</c:v>
                </c:pt>
                <c:pt idx="81">
                  <c:v>6</c:v>
                </c:pt>
                <c:pt idx="82">
                  <c:v>18</c:v>
                </c:pt>
                <c:pt idx="83">
                  <c:v>3</c:v>
                </c:pt>
                <c:pt idx="84">
                  <c:v>8</c:v>
                </c:pt>
                <c:pt idx="85">
                  <c:v>5</c:v>
                </c:pt>
                <c:pt idx="86">
                  <c:v>4</c:v>
                </c:pt>
                <c:pt idx="87">
                  <c:v>41</c:v>
                </c:pt>
                <c:pt idx="88">
                  <c:v>26</c:v>
                </c:pt>
                <c:pt idx="89">
                  <c:v>21</c:v>
                </c:pt>
                <c:pt idx="90">
                  <c:v>25</c:v>
                </c:pt>
                <c:pt idx="91">
                  <c:v>27</c:v>
                </c:pt>
                <c:pt idx="92">
                  <c:v>13</c:v>
                </c:pt>
                <c:pt idx="93">
                  <c:v>5</c:v>
                </c:pt>
                <c:pt idx="94">
                  <c:v>52</c:v>
                </c:pt>
                <c:pt idx="95">
                  <c:v>25</c:v>
                </c:pt>
                <c:pt idx="96">
                  <c:v>30</c:v>
                </c:pt>
                <c:pt idx="97">
                  <c:v>37</c:v>
                </c:pt>
                <c:pt idx="98">
                  <c:v>34</c:v>
                </c:pt>
                <c:pt idx="99">
                  <c:v>20</c:v>
                </c:pt>
                <c:pt idx="100">
                  <c:v>14</c:v>
                </c:pt>
                <c:pt idx="101">
                  <c:v>56</c:v>
                </c:pt>
                <c:pt idx="102">
                  <c:v>34</c:v>
                </c:pt>
                <c:pt idx="103">
                  <c:v>14</c:v>
                </c:pt>
                <c:pt idx="104">
                  <c:v>42</c:v>
                </c:pt>
                <c:pt idx="105">
                  <c:v>52</c:v>
                </c:pt>
                <c:pt idx="106">
                  <c:v>11</c:v>
                </c:pt>
                <c:pt idx="107">
                  <c:v>7</c:v>
                </c:pt>
                <c:pt idx="108">
                  <c:v>69</c:v>
                </c:pt>
                <c:pt idx="109">
                  <c:v>44</c:v>
                </c:pt>
                <c:pt idx="110">
                  <c:v>48</c:v>
                </c:pt>
                <c:pt idx="111">
                  <c:v>49</c:v>
                </c:pt>
                <c:pt idx="112">
                  <c:v>48</c:v>
                </c:pt>
                <c:pt idx="113">
                  <c:v>22</c:v>
                </c:pt>
                <c:pt idx="114">
                  <c:v>8</c:v>
                </c:pt>
                <c:pt idx="115">
                  <c:v>45</c:v>
                </c:pt>
                <c:pt idx="116">
                  <c:v>48</c:v>
                </c:pt>
                <c:pt idx="117">
                  <c:v>43</c:v>
                </c:pt>
                <c:pt idx="118">
                  <c:v>33</c:v>
                </c:pt>
                <c:pt idx="119">
                  <c:v>29</c:v>
                </c:pt>
                <c:pt idx="120">
                  <c:v>21</c:v>
                </c:pt>
                <c:pt idx="121">
                  <c:v>10</c:v>
                </c:pt>
                <c:pt idx="122">
                  <c:v>49</c:v>
                </c:pt>
                <c:pt idx="123">
                  <c:v>35</c:v>
                </c:pt>
                <c:pt idx="124">
                  <c:v>34</c:v>
                </c:pt>
                <c:pt idx="125">
                  <c:v>25</c:v>
                </c:pt>
                <c:pt idx="126">
                  <c:v>18</c:v>
                </c:pt>
                <c:pt idx="127">
                  <c:v>13</c:v>
                </c:pt>
                <c:pt idx="128">
                  <c:v>9</c:v>
                </c:pt>
                <c:pt idx="129">
                  <c:v>30</c:v>
                </c:pt>
                <c:pt idx="130">
                  <c:v>36</c:v>
                </c:pt>
                <c:pt idx="131">
                  <c:v>28</c:v>
                </c:pt>
                <c:pt idx="132">
                  <c:v>17</c:v>
                </c:pt>
                <c:pt idx="133">
                  <c:v>14</c:v>
                </c:pt>
                <c:pt idx="134">
                  <c:v>8</c:v>
                </c:pt>
                <c:pt idx="135">
                  <c:v>10</c:v>
                </c:pt>
                <c:pt idx="136">
                  <c:v>25</c:v>
                </c:pt>
                <c:pt idx="137">
                  <c:v>12</c:v>
                </c:pt>
                <c:pt idx="138">
                  <c:v>8</c:v>
                </c:pt>
                <c:pt idx="139">
                  <c:v>4</c:v>
                </c:pt>
                <c:pt idx="140">
                  <c:v>7</c:v>
                </c:pt>
                <c:pt idx="141">
                  <c:v>3</c:v>
                </c:pt>
                <c:pt idx="142">
                  <c:v>5</c:v>
                </c:pt>
                <c:pt idx="143">
                  <c:v>10</c:v>
                </c:pt>
                <c:pt idx="144">
                  <c:v>17</c:v>
                </c:pt>
                <c:pt idx="145">
                  <c:v>8</c:v>
                </c:pt>
                <c:pt idx="146">
                  <c:v>9</c:v>
                </c:pt>
                <c:pt idx="147">
                  <c:v>6</c:v>
                </c:pt>
                <c:pt idx="148">
                  <c:v>0</c:v>
                </c:pt>
                <c:pt idx="149">
                  <c:v>4</c:v>
                </c:pt>
                <c:pt idx="150">
                  <c:v>19</c:v>
                </c:pt>
                <c:pt idx="151">
                  <c:v>14</c:v>
                </c:pt>
                <c:pt idx="152">
                  <c:v>5</c:v>
                </c:pt>
                <c:pt idx="153">
                  <c:v>9</c:v>
                </c:pt>
                <c:pt idx="154">
                  <c:v>11</c:v>
                </c:pt>
                <c:pt idx="155">
                  <c:v>3</c:v>
                </c:pt>
                <c:pt idx="156">
                  <c:v>3</c:v>
                </c:pt>
                <c:pt idx="157">
                  <c:v>18</c:v>
                </c:pt>
                <c:pt idx="158">
                  <c:v>11</c:v>
                </c:pt>
                <c:pt idx="159">
                  <c:v>8</c:v>
                </c:pt>
                <c:pt idx="160" formatCode="General">
                  <c:v>13</c:v>
                </c:pt>
                <c:pt idx="161" formatCode="General">
                  <c:v>11</c:v>
                </c:pt>
                <c:pt idx="162" formatCode="General">
                  <c:v>6</c:v>
                </c:pt>
                <c:pt idx="163" formatCode="General">
                  <c:v>10</c:v>
                </c:pt>
                <c:pt idx="164" formatCode="General">
                  <c:v>47</c:v>
                </c:pt>
                <c:pt idx="165" formatCode="General">
                  <c:v>32</c:v>
                </c:pt>
                <c:pt idx="166" formatCode="General">
                  <c:v>40</c:v>
                </c:pt>
                <c:pt idx="167" formatCode="General">
                  <c:v>46</c:v>
                </c:pt>
                <c:pt idx="168" formatCode="General">
                  <c:v>64</c:v>
                </c:pt>
                <c:pt idx="169" formatCode="General">
                  <c:v>20</c:v>
                </c:pt>
                <c:pt idx="170" formatCode="General">
                  <c:v>15</c:v>
                </c:pt>
                <c:pt idx="171" formatCode="General">
                  <c:v>88</c:v>
                </c:pt>
                <c:pt idx="172" formatCode="General">
                  <c:v>83</c:v>
                </c:pt>
                <c:pt idx="173" formatCode="General">
                  <c:v>82</c:v>
                </c:pt>
                <c:pt idx="174" formatCode="General">
                  <c:v>79</c:v>
                </c:pt>
                <c:pt idx="175" formatCode="General">
                  <c:v>93</c:v>
                </c:pt>
                <c:pt idx="176" formatCode="General">
                  <c:v>41</c:v>
                </c:pt>
                <c:pt idx="177" formatCode="General">
                  <c:v>33</c:v>
                </c:pt>
                <c:pt idx="178" formatCode="General">
                  <c:v>89</c:v>
                </c:pt>
                <c:pt idx="179" formatCode="General">
                  <c:v>127</c:v>
                </c:pt>
                <c:pt idx="180" formatCode="General">
                  <c:v>102</c:v>
                </c:pt>
                <c:pt idx="181" formatCode="General">
                  <c:v>66</c:v>
                </c:pt>
                <c:pt idx="182" formatCode="General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35">
                  <c:v>0.1392709</c:v>
                </c:pt>
                <c:pt idx="36">
                  <c:v>0.69635449999999999</c:v>
                </c:pt>
                <c:pt idx="37">
                  <c:v>1.2534381999999999</c:v>
                </c:pt>
                <c:pt idx="38">
                  <c:v>2.7854182999999999</c:v>
                </c:pt>
                <c:pt idx="39">
                  <c:v>8.9133385999999994</c:v>
                </c:pt>
                <c:pt idx="40">
                  <c:v>51.669510099999997</c:v>
                </c:pt>
                <c:pt idx="41">
                  <c:v>108.07423129999999</c:v>
                </c:pt>
                <c:pt idx="42">
                  <c:v>171.58176940000001</c:v>
                </c:pt>
                <c:pt idx="43">
                  <c:v>248.0415027</c:v>
                </c:pt>
                <c:pt idx="44">
                  <c:v>278.12402070000002</c:v>
                </c:pt>
                <c:pt idx="45">
                  <c:v>191.91532319999999</c:v>
                </c:pt>
                <c:pt idx="46">
                  <c:v>133.00372540000001</c:v>
                </c:pt>
                <c:pt idx="47">
                  <c:v>91.640263200000007</c:v>
                </c:pt>
                <c:pt idx="48">
                  <c:v>61.557745199999999</c:v>
                </c:pt>
                <c:pt idx="49">
                  <c:v>66.850040000000007</c:v>
                </c:pt>
                <c:pt idx="50">
                  <c:v>66.710769099999993</c:v>
                </c:pt>
                <c:pt idx="51">
                  <c:v>82.030569900000003</c:v>
                </c:pt>
                <c:pt idx="52">
                  <c:v>88.7155738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5E-407A-AC1D-1838C2884016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30.2217889</c:v>
                </c:pt>
                <c:pt idx="1">
                  <c:v>121.4442394</c:v>
                </c:pt>
                <c:pt idx="2">
                  <c:v>90.108283099999994</c:v>
                </c:pt>
                <c:pt idx="3">
                  <c:v>67.4071237</c:v>
                </c:pt>
                <c:pt idx="4">
                  <c:v>48.6055499</c:v>
                </c:pt>
                <c:pt idx="5">
                  <c:v>48.744820799999999</c:v>
                </c:pt>
                <c:pt idx="6">
                  <c:v>32.496547200000002</c:v>
                </c:pt>
                <c:pt idx="7">
                  <c:v>32.589394499999997</c:v>
                </c:pt>
                <c:pt idx="8">
                  <c:v>35.5140837</c:v>
                </c:pt>
                <c:pt idx="9">
                  <c:v>36.2104383</c:v>
                </c:pt>
                <c:pt idx="10">
                  <c:v>29.525434300000001</c:v>
                </c:pt>
                <c:pt idx="11">
                  <c:v>20.055012000000001</c:v>
                </c:pt>
                <c:pt idx="12">
                  <c:v>13.787820699999999</c:v>
                </c:pt>
                <c:pt idx="13">
                  <c:v>11.2809442</c:v>
                </c:pt>
                <c:pt idx="14">
                  <c:v>9.7489641000000002</c:v>
                </c:pt>
                <c:pt idx="15">
                  <c:v>5.4315657000000002</c:v>
                </c:pt>
                <c:pt idx="16">
                  <c:v>4.3173984000000001</c:v>
                </c:pt>
                <c:pt idx="17">
                  <c:v>3.4817729000000002</c:v>
                </c:pt>
                <c:pt idx="18">
                  <c:v>2.2283346000000002</c:v>
                </c:pt>
                <c:pt idx="19">
                  <c:v>1.671251</c:v>
                </c:pt>
                <c:pt idx="20">
                  <c:v>2.2283346000000002</c:v>
                </c:pt>
                <c:pt idx="21">
                  <c:v>0.9748964</c:v>
                </c:pt>
                <c:pt idx="22">
                  <c:v>0.1392709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392709</c:v>
                </c:pt>
                <c:pt idx="27">
                  <c:v>0</c:v>
                </c:pt>
                <c:pt idx="28">
                  <c:v>0.1392709</c:v>
                </c:pt>
                <c:pt idx="29">
                  <c:v>0.1392709</c:v>
                </c:pt>
                <c:pt idx="30">
                  <c:v>0.41781269999999998</c:v>
                </c:pt>
                <c:pt idx="31">
                  <c:v>0</c:v>
                </c:pt>
                <c:pt idx="32">
                  <c:v>0.27854180000000001</c:v>
                </c:pt>
                <c:pt idx="33">
                  <c:v>0</c:v>
                </c:pt>
                <c:pt idx="34">
                  <c:v>0.27854180000000001</c:v>
                </c:pt>
                <c:pt idx="35">
                  <c:v>1.1141673000000001</c:v>
                </c:pt>
                <c:pt idx="36">
                  <c:v>0.83562550000000002</c:v>
                </c:pt>
                <c:pt idx="37">
                  <c:v>0.27854180000000001</c:v>
                </c:pt>
                <c:pt idx="38">
                  <c:v>1.5319799999999999</c:v>
                </c:pt>
                <c:pt idx="39">
                  <c:v>2.6461473999999998</c:v>
                </c:pt>
                <c:pt idx="40">
                  <c:v>1.8105218999999999</c:v>
                </c:pt>
                <c:pt idx="41">
                  <c:v>1.671251</c:v>
                </c:pt>
                <c:pt idx="42">
                  <c:v>6.5457330000000002</c:v>
                </c:pt>
                <c:pt idx="43">
                  <c:v>8.2169840000000001</c:v>
                </c:pt>
                <c:pt idx="44">
                  <c:v>18.105219099999999</c:v>
                </c:pt>
                <c:pt idx="45">
                  <c:v>26.322203200000001</c:v>
                </c:pt>
                <c:pt idx="46">
                  <c:v>29.8039761</c:v>
                </c:pt>
                <c:pt idx="47">
                  <c:v>38.995856600000003</c:v>
                </c:pt>
                <c:pt idx="48">
                  <c:v>34.399916400000002</c:v>
                </c:pt>
                <c:pt idx="49">
                  <c:v>28.271996099999999</c:v>
                </c:pt>
                <c:pt idx="50">
                  <c:v>21.0299084</c:v>
                </c:pt>
                <c:pt idx="51">
                  <c:v>11.2809442</c:v>
                </c:pt>
                <c:pt idx="52">
                  <c:v>8.216984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5E-407A-AC1D-1838C2884016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1.02</c:v>
                </c:pt>
                <c:pt idx="7">
                  <c:v>12.02 - 18.02</c:v>
                </c:pt>
                <c:pt idx="8">
                  <c:v>19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0</c:v>
                </c:pt>
                <c:pt idx="1">
                  <c:v>9.0526095000000009</c:v>
                </c:pt>
                <c:pt idx="2">
                  <c:v>9.7489641000000002</c:v>
                </c:pt>
                <c:pt idx="3">
                  <c:v>36.0711674</c:v>
                </c:pt>
                <c:pt idx="4">
                  <c:v>66.989310900000007</c:v>
                </c:pt>
                <c:pt idx="5">
                  <c:v>65.7358727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5E-407A-AC1D-1838C28840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73.50506</c:v>
                </c:pt>
                <c:pt idx="1">
                  <c:v>59.586309999999997</c:v>
                </c:pt>
                <c:pt idx="2">
                  <c:v>54.494639999999997</c:v>
                </c:pt>
                <c:pt idx="3">
                  <c:v>54.263509999999997</c:v>
                </c:pt>
                <c:pt idx="4">
                  <c:v>52.067570000000003</c:v>
                </c:pt>
                <c:pt idx="5">
                  <c:v>54.726179999999999</c:v>
                </c:pt>
                <c:pt idx="6">
                  <c:v>65.279610000000005</c:v>
                </c:pt>
                <c:pt idx="7">
                  <c:v>49.435299999999998</c:v>
                </c:pt>
                <c:pt idx="8">
                  <c:v>55.942010000000003</c:v>
                </c:pt>
                <c:pt idx="9">
                  <c:v>54.762689999999999</c:v>
                </c:pt>
                <c:pt idx="10">
                  <c:v>60.61372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14.22753</c:v>
                </c:pt>
                <c:pt idx="1">
                  <c:v>23.539359999999999</c:v>
                </c:pt>
                <c:pt idx="2">
                  <c:v>25.916879999999999</c:v>
                </c:pt>
                <c:pt idx="3">
                  <c:v>24.726970000000001</c:v>
                </c:pt>
                <c:pt idx="4">
                  <c:v>27.256730000000001</c:v>
                </c:pt>
                <c:pt idx="5">
                  <c:v>26.74428</c:v>
                </c:pt>
                <c:pt idx="6">
                  <c:v>20.84985</c:v>
                </c:pt>
                <c:pt idx="7">
                  <c:v>26.255780000000001</c:v>
                </c:pt>
                <c:pt idx="8">
                  <c:v>25.980129999999999</c:v>
                </c:pt>
                <c:pt idx="9">
                  <c:v>26.101710000000001</c:v>
                </c:pt>
                <c:pt idx="10">
                  <c:v>22.471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0.43982939999999998</c:v>
                </c:pt>
                <c:pt idx="1">
                  <c:v>0.78920380000000001</c:v>
                </c:pt>
                <c:pt idx="2">
                  <c:v>0.7687484</c:v>
                </c:pt>
                <c:pt idx="3">
                  <c:v>0.85410249999999999</c:v>
                </c:pt>
                <c:pt idx="4">
                  <c:v>1.1613583999999999</c:v>
                </c:pt>
                <c:pt idx="5">
                  <c:v>0.80832300000000001</c:v>
                </c:pt>
                <c:pt idx="6">
                  <c:v>0.72655219999999998</c:v>
                </c:pt>
                <c:pt idx="7">
                  <c:v>0.75293109999999996</c:v>
                </c:pt>
                <c:pt idx="8">
                  <c:v>0.68064250000000004</c:v>
                </c:pt>
                <c:pt idx="9">
                  <c:v>0.67398780000000003</c:v>
                </c:pt>
                <c:pt idx="10">
                  <c:v>0.7085818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2.9755419999999999</c:v>
                </c:pt>
                <c:pt idx="1">
                  <c:v>8.5302389999999999</c:v>
                </c:pt>
                <c:pt idx="2">
                  <c:v>9.1828129999999994</c:v>
                </c:pt>
                <c:pt idx="3">
                  <c:v>8.7160460000000004</c:v>
                </c:pt>
                <c:pt idx="4">
                  <c:v>10.69857</c:v>
                </c:pt>
                <c:pt idx="5">
                  <c:v>9.1004020000000008</c:v>
                </c:pt>
                <c:pt idx="6">
                  <c:v>6.5830029999999997</c:v>
                </c:pt>
                <c:pt idx="7">
                  <c:v>11.24019</c:v>
                </c:pt>
                <c:pt idx="8">
                  <c:v>9.0865779999999994</c:v>
                </c:pt>
                <c:pt idx="9">
                  <c:v>8.6015929999999994</c:v>
                </c:pt>
                <c:pt idx="10">
                  <c:v>7.610056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8.8520450000000004</c:v>
                </c:pt>
                <c:pt idx="1">
                  <c:v>7.5548929999999999</c:v>
                </c:pt>
                <c:pt idx="2">
                  <c:v>9.6369260000000008</c:v>
                </c:pt>
                <c:pt idx="3">
                  <c:v>11.43937</c:v>
                </c:pt>
                <c:pt idx="4">
                  <c:v>8.815766</c:v>
                </c:pt>
                <c:pt idx="5">
                  <c:v>8.6208229999999997</c:v>
                </c:pt>
                <c:pt idx="6">
                  <c:v>6.5609859999999998</c:v>
                </c:pt>
                <c:pt idx="7">
                  <c:v>12.315799999999999</c:v>
                </c:pt>
                <c:pt idx="8">
                  <c:v>8.3106449999999992</c:v>
                </c:pt>
                <c:pt idx="9">
                  <c:v>9.8600180000000002</c:v>
                </c:pt>
                <c:pt idx="10">
                  <c:v>8.5961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Liberecký kraj</c:v>
                </c:pt>
                <c:pt idx="3">
                  <c:v>Kraj Vysočina</c:v>
                </c:pt>
                <c:pt idx="4">
                  <c:v>Středočeský kraj</c:v>
                </c:pt>
                <c:pt idx="5">
                  <c:v>Jihočeský kraj</c:v>
                </c:pt>
                <c:pt idx="6">
                  <c:v>Pardubický kraj</c:v>
                </c:pt>
                <c:pt idx="7">
                  <c:v>Ústecký kraj</c:v>
                </c:pt>
                <c:pt idx="8">
                  <c:v>Hlavní město Praha</c:v>
                </c:pt>
                <c:pt idx="9">
                  <c:v>ČR</c:v>
                </c:pt>
                <c:pt idx="10">
                  <c:v>Olomoucký kraj</c:v>
                </c:pt>
                <c:pt idx="11">
                  <c:v>Zlínský kraj</c:v>
                </c:pt>
                <c:pt idx="12">
                  <c:v>Jihomoravs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598709999999997</c:v>
                </c:pt>
                <c:pt idx="1">
                  <c:v>90.317700000000002</c:v>
                </c:pt>
                <c:pt idx="2">
                  <c:v>90.304929999999999</c:v>
                </c:pt>
                <c:pt idx="3">
                  <c:v>90.045249999999996</c:v>
                </c:pt>
                <c:pt idx="4">
                  <c:v>90.026480000000006</c:v>
                </c:pt>
                <c:pt idx="5">
                  <c:v>89.646829999999994</c:v>
                </c:pt>
                <c:pt idx="6">
                  <c:v>89.267210000000006</c:v>
                </c:pt>
                <c:pt idx="7">
                  <c:v>89.182689999999994</c:v>
                </c:pt>
                <c:pt idx="8">
                  <c:v>88.952569999999994</c:v>
                </c:pt>
                <c:pt idx="9">
                  <c:v>88.007959999999997</c:v>
                </c:pt>
                <c:pt idx="10">
                  <c:v>87.318179999999998</c:v>
                </c:pt>
                <c:pt idx="11">
                  <c:v>85.278859999999995</c:v>
                </c:pt>
                <c:pt idx="12">
                  <c:v>84.988709999999998</c:v>
                </c:pt>
                <c:pt idx="13">
                  <c:v>84.336129999999997</c:v>
                </c:pt>
                <c:pt idx="14">
                  <c:v>84.33566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Královéhradecký kraj</c:v>
                </c:pt>
                <c:pt idx="5">
                  <c:v>Hlavní město Praha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Liberecký kraj</c:v>
                </c:pt>
                <c:pt idx="9">
                  <c:v>ČR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Zlín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8.582939999999994</c:v>
                </c:pt>
                <c:pt idx="1">
                  <c:v>88.284520000000001</c:v>
                </c:pt>
                <c:pt idx="2">
                  <c:v>87.802289999999999</c:v>
                </c:pt>
                <c:pt idx="3">
                  <c:v>87.467950000000002</c:v>
                </c:pt>
                <c:pt idx="4">
                  <c:v>86.39837</c:v>
                </c:pt>
                <c:pt idx="5">
                  <c:v>86.252790000000005</c:v>
                </c:pt>
                <c:pt idx="6">
                  <c:v>85.113709999999998</c:v>
                </c:pt>
                <c:pt idx="7">
                  <c:v>84.691490000000002</c:v>
                </c:pt>
                <c:pt idx="8">
                  <c:v>84.368380000000002</c:v>
                </c:pt>
                <c:pt idx="9">
                  <c:v>84.193479999999994</c:v>
                </c:pt>
                <c:pt idx="10">
                  <c:v>83.358059999999995</c:v>
                </c:pt>
                <c:pt idx="11">
                  <c:v>81.461479999999995</c:v>
                </c:pt>
                <c:pt idx="12">
                  <c:v>79.278229999999994</c:v>
                </c:pt>
                <c:pt idx="13">
                  <c:v>79.246399999999994</c:v>
                </c:pt>
                <c:pt idx="14">
                  <c:v>77.88155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22 Psycholog ve zdravotnictví</c:v>
                </c:pt>
                <c:pt idx="14">
                  <c:v>§ 17 Dentální hygienistka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7 Ergoterapeut</c:v>
                </c:pt>
                <c:pt idx="18">
                  <c:v>§ 11 Optometrista</c:v>
                </c:pt>
                <c:pt idx="19">
                  <c:v>§ 10 Zdravotně-sociální pracovník</c:v>
                </c:pt>
                <c:pt idx="20">
                  <c:v>§ 23 Logoped ve zdravotnictví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41 Autoptický laborant</c:v>
                </c:pt>
                <c:pt idx="34">
                  <c:v>§ 21 Radiologický technik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4833</c:v>
                </c:pt>
                <c:pt idx="1">
                  <c:v>2409</c:v>
                </c:pt>
                <c:pt idx="2">
                  <c:v>1943</c:v>
                </c:pt>
                <c:pt idx="3">
                  <c:v>1745</c:v>
                </c:pt>
                <c:pt idx="4">
                  <c:v>1559</c:v>
                </c:pt>
                <c:pt idx="5">
                  <c:v>1073</c:v>
                </c:pt>
                <c:pt idx="6">
                  <c:v>924</c:v>
                </c:pt>
                <c:pt idx="7">
                  <c:v>884</c:v>
                </c:pt>
                <c:pt idx="8">
                  <c:v>703</c:v>
                </c:pt>
                <c:pt idx="9">
                  <c:v>701</c:v>
                </c:pt>
                <c:pt idx="10">
                  <c:v>633</c:v>
                </c:pt>
                <c:pt idx="11">
                  <c:v>465</c:v>
                </c:pt>
                <c:pt idx="12">
                  <c:v>367</c:v>
                </c:pt>
                <c:pt idx="13">
                  <c:v>360</c:v>
                </c:pt>
                <c:pt idx="14">
                  <c:v>351</c:v>
                </c:pt>
                <c:pt idx="15">
                  <c:v>262</c:v>
                </c:pt>
                <c:pt idx="16">
                  <c:v>205</c:v>
                </c:pt>
                <c:pt idx="17">
                  <c:v>204</c:v>
                </c:pt>
                <c:pt idx="18">
                  <c:v>200</c:v>
                </c:pt>
                <c:pt idx="19">
                  <c:v>190</c:v>
                </c:pt>
                <c:pt idx="20">
                  <c:v>178</c:v>
                </c:pt>
                <c:pt idx="21">
                  <c:v>174</c:v>
                </c:pt>
                <c:pt idx="22">
                  <c:v>96</c:v>
                </c:pt>
                <c:pt idx="23">
                  <c:v>63</c:v>
                </c:pt>
                <c:pt idx="24">
                  <c:v>45</c:v>
                </c:pt>
                <c:pt idx="25">
                  <c:v>45</c:v>
                </c:pt>
                <c:pt idx="26">
                  <c:v>34</c:v>
                </c:pt>
                <c:pt idx="27">
                  <c:v>28</c:v>
                </c:pt>
                <c:pt idx="28">
                  <c:v>27</c:v>
                </c:pt>
                <c:pt idx="29">
                  <c:v>19</c:v>
                </c:pt>
                <c:pt idx="30">
                  <c:v>15</c:v>
                </c:pt>
                <c:pt idx="31">
                  <c:v>10</c:v>
                </c:pt>
                <c:pt idx="32">
                  <c:v>9</c:v>
                </c:pt>
                <c:pt idx="33">
                  <c:v>5</c:v>
                </c:pt>
                <c:pt idx="34">
                  <c:v>4</c:v>
                </c:pt>
                <c:pt idx="3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18 Zdravotnický záchranář</c:v>
                </c:pt>
                <c:pt idx="6">
                  <c:v>§ 36 Ošetřovatel</c:v>
                </c:pt>
                <c:pt idx="7">
                  <c:v>§ 39 Zubní instrumentářka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22 Psycholog ve zdravotnictví</c:v>
                </c:pt>
                <c:pt idx="12">
                  <c:v>§ 40 Řidič zdravotnické dopravní služby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37 Masér ve zdravotnictví, nevidomý a slabozraký masér ve zdravotnictví</c:v>
                </c:pt>
                <c:pt idx="16">
                  <c:v>§ 7 Ergoterapeut</c:v>
                </c:pt>
                <c:pt idx="17">
                  <c:v>§ 23 Logoped ve zdravotnictví</c:v>
                </c:pt>
                <c:pt idx="18">
                  <c:v>§ 15 Nutriční terapeut</c:v>
                </c:pt>
                <c:pt idx="19">
                  <c:v>§ 11 Optometrista</c:v>
                </c:pt>
                <c:pt idx="20">
                  <c:v>§ 10 Zdravotně-sociální pracovník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2 Nutriční asistent</c:v>
                </c:pt>
                <c:pt idx="32">
                  <c:v>§ 41 Autoptický laborant</c:v>
                </c:pt>
                <c:pt idx="33">
                  <c:v>§ 21 Radiologický technik</c:v>
                </c:pt>
                <c:pt idx="34">
                  <c:v>§ 23a Zrakový terapeut</c:v>
                </c:pt>
                <c:pt idx="35">
                  <c:v>§ 31 Ortoticko-protetický technik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2446</c:v>
                </c:pt>
                <c:pt idx="1">
                  <c:v>1473</c:v>
                </c:pt>
                <c:pt idx="2">
                  <c:v>1162</c:v>
                </c:pt>
                <c:pt idx="3">
                  <c:v>1104</c:v>
                </c:pt>
                <c:pt idx="4">
                  <c:v>894</c:v>
                </c:pt>
                <c:pt idx="5">
                  <c:v>546</c:v>
                </c:pt>
                <c:pt idx="6">
                  <c:v>534</c:v>
                </c:pt>
                <c:pt idx="7">
                  <c:v>534</c:v>
                </c:pt>
                <c:pt idx="8">
                  <c:v>471</c:v>
                </c:pt>
                <c:pt idx="9">
                  <c:v>406</c:v>
                </c:pt>
                <c:pt idx="10">
                  <c:v>372</c:v>
                </c:pt>
                <c:pt idx="11">
                  <c:v>248</c:v>
                </c:pt>
                <c:pt idx="12">
                  <c:v>242</c:v>
                </c:pt>
                <c:pt idx="13">
                  <c:v>222</c:v>
                </c:pt>
                <c:pt idx="14">
                  <c:v>187</c:v>
                </c:pt>
                <c:pt idx="15">
                  <c:v>148</c:v>
                </c:pt>
                <c:pt idx="16">
                  <c:v>131</c:v>
                </c:pt>
                <c:pt idx="17">
                  <c:v>124</c:v>
                </c:pt>
                <c:pt idx="18">
                  <c:v>122</c:v>
                </c:pt>
                <c:pt idx="19">
                  <c:v>117</c:v>
                </c:pt>
                <c:pt idx="20">
                  <c:v>109</c:v>
                </c:pt>
                <c:pt idx="21">
                  <c:v>109</c:v>
                </c:pt>
                <c:pt idx="22">
                  <c:v>61</c:v>
                </c:pt>
                <c:pt idx="23">
                  <c:v>39</c:v>
                </c:pt>
                <c:pt idx="24">
                  <c:v>28</c:v>
                </c:pt>
                <c:pt idx="25">
                  <c:v>26</c:v>
                </c:pt>
                <c:pt idx="26">
                  <c:v>22</c:v>
                </c:pt>
                <c:pt idx="27">
                  <c:v>22</c:v>
                </c:pt>
                <c:pt idx="28">
                  <c:v>15</c:v>
                </c:pt>
                <c:pt idx="29">
                  <c:v>11</c:v>
                </c:pt>
                <c:pt idx="30">
                  <c:v>10</c:v>
                </c:pt>
                <c:pt idx="31">
                  <c:v>4</c:v>
                </c:pt>
                <c:pt idx="32">
                  <c:v>4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18 Zdravotnický záchranář</c:v>
                </c:pt>
                <c:pt idx="6">
                  <c:v>§ 39 Zubní instrumentářka</c:v>
                </c:pt>
                <c:pt idx="7">
                  <c:v>§ 36 Ošetřovatel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22 Psycholog ve zdravotnictví</c:v>
                </c:pt>
                <c:pt idx="12">
                  <c:v>§ 17 Dentální hygienistka</c:v>
                </c:pt>
                <c:pt idx="13">
                  <c:v>§ 40 Řidič zdravotnické dopravní služby</c:v>
                </c:pt>
                <c:pt idx="14">
                  <c:v>§ 35 Řidič vozidla zdravotnické záchranné služby</c:v>
                </c:pt>
                <c:pt idx="15">
                  <c:v>§ 7 Ergoterapeut</c:v>
                </c:pt>
                <c:pt idx="16">
                  <c:v>§ 37 Masér ve zdravotnictví, nevidomý a slabozraký masér ve zdravotnictví</c:v>
                </c:pt>
                <c:pt idx="17">
                  <c:v>§ 30 Laboratorní asistent</c:v>
                </c:pt>
                <c:pt idx="18">
                  <c:v>§ 10 Zdravotně-sociální pracovník</c:v>
                </c:pt>
                <c:pt idx="19">
                  <c:v>§ 11 Optometrista</c:v>
                </c:pt>
                <c:pt idx="20">
                  <c:v>§ 23 Logoped ve zdravotnictví</c:v>
                </c:pt>
                <c:pt idx="21">
                  <c:v>§ 15 Nutriční terapeu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13 Asistent ochrany a podpory veřejného zdraví</c:v>
                </c:pt>
                <c:pt idx="25">
                  <c:v>§ 28 Odborný pracovník v ochraně a podpoře veřejného zdraví</c:v>
                </c:pt>
                <c:pt idx="26">
                  <c:v>§ 21a Adiktolog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12 Ortoptista</c:v>
                </c:pt>
                <c:pt idx="30">
                  <c:v>§ 20 Biomedicínský technik</c:v>
                </c:pt>
                <c:pt idx="31">
                  <c:v>§ 21 Radiologický technik</c:v>
                </c:pt>
                <c:pt idx="32">
                  <c:v>§ 31 Ortoticko-protetický technik</c:v>
                </c:pt>
                <c:pt idx="33">
                  <c:v>§ 23a Zrakový terapeut</c:v>
                </c:pt>
                <c:pt idx="34">
                  <c:v>§ 32 Nutriční asistent</c:v>
                </c:pt>
                <c:pt idx="35">
                  <c:v>§ 41 Autoptický laboran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1173</c:v>
                </c:pt>
                <c:pt idx="1">
                  <c:v>738</c:v>
                </c:pt>
                <c:pt idx="2">
                  <c:v>544</c:v>
                </c:pt>
                <c:pt idx="3">
                  <c:v>537</c:v>
                </c:pt>
                <c:pt idx="4">
                  <c:v>409</c:v>
                </c:pt>
                <c:pt idx="5">
                  <c:v>296</c:v>
                </c:pt>
                <c:pt idx="6">
                  <c:v>267</c:v>
                </c:pt>
                <c:pt idx="7">
                  <c:v>239</c:v>
                </c:pt>
                <c:pt idx="8">
                  <c:v>234</c:v>
                </c:pt>
                <c:pt idx="9">
                  <c:v>212</c:v>
                </c:pt>
                <c:pt idx="10">
                  <c:v>190</c:v>
                </c:pt>
                <c:pt idx="11">
                  <c:v>146</c:v>
                </c:pt>
                <c:pt idx="12">
                  <c:v>125</c:v>
                </c:pt>
                <c:pt idx="13">
                  <c:v>114</c:v>
                </c:pt>
                <c:pt idx="14">
                  <c:v>95</c:v>
                </c:pt>
                <c:pt idx="15">
                  <c:v>69</c:v>
                </c:pt>
                <c:pt idx="16">
                  <c:v>66</c:v>
                </c:pt>
                <c:pt idx="17">
                  <c:v>65</c:v>
                </c:pt>
                <c:pt idx="18">
                  <c:v>56</c:v>
                </c:pt>
                <c:pt idx="19">
                  <c:v>55</c:v>
                </c:pt>
                <c:pt idx="20">
                  <c:v>55</c:v>
                </c:pt>
                <c:pt idx="21">
                  <c:v>50</c:v>
                </c:pt>
                <c:pt idx="22">
                  <c:v>30</c:v>
                </c:pt>
                <c:pt idx="23">
                  <c:v>19</c:v>
                </c:pt>
                <c:pt idx="24">
                  <c:v>13</c:v>
                </c:pt>
                <c:pt idx="25">
                  <c:v>13</c:v>
                </c:pt>
                <c:pt idx="26">
                  <c:v>12</c:v>
                </c:pt>
                <c:pt idx="27">
                  <c:v>10</c:v>
                </c:pt>
                <c:pt idx="28">
                  <c:v>9</c:v>
                </c:pt>
                <c:pt idx="29">
                  <c:v>5</c:v>
                </c:pt>
                <c:pt idx="30">
                  <c:v>5</c:v>
                </c:pt>
                <c:pt idx="31">
                  <c:v>2</c:v>
                </c:pt>
                <c:pt idx="32">
                  <c:v>2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9.32511328268768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6.08.21</c:v>
                </c:pt>
                <c:pt idx="1">
                  <c:v>07.08.21</c:v>
                </c:pt>
                <c:pt idx="2">
                  <c:v>08.08.21</c:v>
                </c:pt>
                <c:pt idx="3">
                  <c:v>09.08.21</c:v>
                </c:pt>
                <c:pt idx="4">
                  <c:v>10.08.21</c:v>
                </c:pt>
                <c:pt idx="5">
                  <c:v>11.08.21</c:v>
                </c:pt>
                <c:pt idx="6">
                  <c:v>12.08.21</c:v>
                </c:pt>
                <c:pt idx="7">
                  <c:v>13.08.21</c:v>
                </c:pt>
                <c:pt idx="8">
                  <c:v>14.08.21</c:v>
                </c:pt>
                <c:pt idx="9">
                  <c:v>15.08.21</c:v>
                </c:pt>
                <c:pt idx="10">
                  <c:v>16.08.21</c:v>
                </c:pt>
                <c:pt idx="11">
                  <c:v>17.08.21</c:v>
                </c:pt>
                <c:pt idx="12">
                  <c:v>18.08.21</c:v>
                </c:pt>
                <c:pt idx="13">
                  <c:v>19.08.21</c:v>
                </c:pt>
                <c:pt idx="14">
                  <c:v>20.08.21</c:v>
                </c:pt>
                <c:pt idx="15">
                  <c:v>21.08.21</c:v>
                </c:pt>
                <c:pt idx="16">
                  <c:v>22.08.21</c:v>
                </c:pt>
                <c:pt idx="17">
                  <c:v>23.08.21</c:v>
                </c:pt>
                <c:pt idx="18">
                  <c:v>24.08.21</c:v>
                </c:pt>
                <c:pt idx="19">
                  <c:v>25.08.21</c:v>
                </c:pt>
                <c:pt idx="20">
                  <c:v>26.08.21</c:v>
                </c:pt>
                <c:pt idx="21">
                  <c:v>27.08.21</c:v>
                </c:pt>
                <c:pt idx="22">
                  <c:v>28.08.21</c:v>
                </c:pt>
                <c:pt idx="23">
                  <c:v>29.08.21</c:v>
                </c:pt>
                <c:pt idx="24">
                  <c:v>30.08.21</c:v>
                </c:pt>
                <c:pt idx="25">
                  <c:v>31.08.21</c:v>
                </c:pt>
                <c:pt idx="26">
                  <c:v>01.09.21</c:v>
                </c:pt>
                <c:pt idx="27">
                  <c:v>02.09.21</c:v>
                </c:pt>
                <c:pt idx="28">
                  <c:v>03.09.21</c:v>
                </c:pt>
                <c:pt idx="29">
                  <c:v>04.09.21</c:v>
                </c:pt>
                <c:pt idx="30">
                  <c:v>05.09.21</c:v>
                </c:pt>
                <c:pt idx="31">
                  <c:v>06.09.21</c:v>
                </c:pt>
                <c:pt idx="32">
                  <c:v>07.09.21</c:v>
                </c:pt>
                <c:pt idx="33">
                  <c:v>08.09.21</c:v>
                </c:pt>
                <c:pt idx="34">
                  <c:v>09.09.21</c:v>
                </c:pt>
                <c:pt idx="35">
                  <c:v>10.09.21</c:v>
                </c:pt>
                <c:pt idx="36">
                  <c:v>11.09.21</c:v>
                </c:pt>
                <c:pt idx="37">
                  <c:v>12.09.21</c:v>
                </c:pt>
                <c:pt idx="38">
                  <c:v>13.09.21</c:v>
                </c:pt>
                <c:pt idx="39">
                  <c:v>14.09.21</c:v>
                </c:pt>
                <c:pt idx="40">
                  <c:v>15.09.21</c:v>
                </c:pt>
                <c:pt idx="41">
                  <c:v>16.09.21</c:v>
                </c:pt>
                <c:pt idx="42">
                  <c:v>17.09.21</c:v>
                </c:pt>
                <c:pt idx="43">
                  <c:v>18.09.21</c:v>
                </c:pt>
                <c:pt idx="44">
                  <c:v>19.09.21</c:v>
                </c:pt>
                <c:pt idx="45">
                  <c:v>20.09.21</c:v>
                </c:pt>
                <c:pt idx="46">
                  <c:v>21.09.21</c:v>
                </c:pt>
                <c:pt idx="47">
                  <c:v>22.09.21</c:v>
                </c:pt>
                <c:pt idx="48">
                  <c:v>23.09.21</c:v>
                </c:pt>
                <c:pt idx="49">
                  <c:v>24.09.21</c:v>
                </c:pt>
                <c:pt idx="50">
                  <c:v>25.09.21</c:v>
                </c:pt>
                <c:pt idx="51">
                  <c:v>26.09.21</c:v>
                </c:pt>
                <c:pt idx="52">
                  <c:v>27.09.21</c:v>
                </c:pt>
                <c:pt idx="53">
                  <c:v>28.09.21</c:v>
                </c:pt>
                <c:pt idx="54">
                  <c:v>29.09.21</c:v>
                </c:pt>
                <c:pt idx="55">
                  <c:v>30.09.21</c:v>
                </c:pt>
                <c:pt idx="56">
                  <c:v>01.10.21</c:v>
                </c:pt>
                <c:pt idx="57">
                  <c:v>02.10.21</c:v>
                </c:pt>
                <c:pt idx="58">
                  <c:v>03.10.21</c:v>
                </c:pt>
                <c:pt idx="59">
                  <c:v>04.10.21</c:v>
                </c:pt>
                <c:pt idx="60">
                  <c:v>05.10.21</c:v>
                </c:pt>
                <c:pt idx="61">
                  <c:v>06.10.21</c:v>
                </c:pt>
                <c:pt idx="62">
                  <c:v>07.10.21</c:v>
                </c:pt>
                <c:pt idx="63">
                  <c:v>08.10.21</c:v>
                </c:pt>
                <c:pt idx="64">
                  <c:v>09.10.21</c:v>
                </c:pt>
                <c:pt idx="65">
                  <c:v>10.10.21</c:v>
                </c:pt>
                <c:pt idx="66">
                  <c:v>11.10.21</c:v>
                </c:pt>
                <c:pt idx="67">
                  <c:v>12.10.21</c:v>
                </c:pt>
                <c:pt idx="68">
                  <c:v>13.10.21</c:v>
                </c:pt>
                <c:pt idx="69">
                  <c:v>14.10.21</c:v>
                </c:pt>
                <c:pt idx="70">
                  <c:v>15.10.21</c:v>
                </c:pt>
                <c:pt idx="71">
                  <c:v>16.10.21</c:v>
                </c:pt>
                <c:pt idx="72">
                  <c:v>17.10.21</c:v>
                </c:pt>
                <c:pt idx="73">
                  <c:v>18.10.21</c:v>
                </c:pt>
                <c:pt idx="74">
                  <c:v>19.10.21</c:v>
                </c:pt>
                <c:pt idx="75">
                  <c:v>20.10.21</c:v>
                </c:pt>
                <c:pt idx="76">
                  <c:v>21.10.21</c:v>
                </c:pt>
                <c:pt idx="77">
                  <c:v>22.10.21</c:v>
                </c:pt>
                <c:pt idx="78">
                  <c:v>23.10.21</c:v>
                </c:pt>
                <c:pt idx="79">
                  <c:v>24.10.21</c:v>
                </c:pt>
                <c:pt idx="80">
                  <c:v>25.10.21</c:v>
                </c:pt>
                <c:pt idx="81">
                  <c:v>26.10.21</c:v>
                </c:pt>
                <c:pt idx="82">
                  <c:v>27.10.21</c:v>
                </c:pt>
                <c:pt idx="83">
                  <c:v>28.10.21</c:v>
                </c:pt>
                <c:pt idx="84">
                  <c:v>29.10.21</c:v>
                </c:pt>
                <c:pt idx="85">
                  <c:v>30.10.21</c:v>
                </c:pt>
                <c:pt idx="86">
                  <c:v>31.10.21</c:v>
                </c:pt>
                <c:pt idx="87">
                  <c:v>01.11.21</c:v>
                </c:pt>
                <c:pt idx="88">
                  <c:v>02.11.21</c:v>
                </c:pt>
                <c:pt idx="89">
                  <c:v>03.11.21</c:v>
                </c:pt>
                <c:pt idx="90">
                  <c:v>04.11.21</c:v>
                </c:pt>
                <c:pt idx="91">
                  <c:v>05.11.21</c:v>
                </c:pt>
                <c:pt idx="92">
                  <c:v>06.11.21</c:v>
                </c:pt>
                <c:pt idx="93">
                  <c:v>07.11.21</c:v>
                </c:pt>
                <c:pt idx="94">
                  <c:v>08.11.21</c:v>
                </c:pt>
                <c:pt idx="95">
                  <c:v>09.11.21</c:v>
                </c:pt>
                <c:pt idx="96">
                  <c:v>10.11.21</c:v>
                </c:pt>
                <c:pt idx="97">
                  <c:v>11.11.21</c:v>
                </c:pt>
                <c:pt idx="98">
                  <c:v>12.11.21</c:v>
                </c:pt>
                <c:pt idx="99">
                  <c:v>13.11.21</c:v>
                </c:pt>
                <c:pt idx="100">
                  <c:v>14.11.21</c:v>
                </c:pt>
                <c:pt idx="101">
                  <c:v>15.11.21</c:v>
                </c:pt>
                <c:pt idx="102">
                  <c:v>16.11.21</c:v>
                </c:pt>
                <c:pt idx="103">
                  <c:v>17.11.21</c:v>
                </c:pt>
                <c:pt idx="104">
                  <c:v>18.11.21</c:v>
                </c:pt>
                <c:pt idx="105">
                  <c:v>19.11.21</c:v>
                </c:pt>
                <c:pt idx="106">
                  <c:v>20.11.21</c:v>
                </c:pt>
                <c:pt idx="107">
                  <c:v>21.11.21</c:v>
                </c:pt>
                <c:pt idx="108">
                  <c:v>22.11.21</c:v>
                </c:pt>
                <c:pt idx="109">
                  <c:v>23.11.21</c:v>
                </c:pt>
                <c:pt idx="110">
                  <c:v>24.11.21</c:v>
                </c:pt>
                <c:pt idx="111">
                  <c:v>25.11.21</c:v>
                </c:pt>
                <c:pt idx="112">
                  <c:v>26.11.21</c:v>
                </c:pt>
                <c:pt idx="113">
                  <c:v>27.11.21</c:v>
                </c:pt>
                <c:pt idx="114">
                  <c:v>28.11.21</c:v>
                </c:pt>
                <c:pt idx="115">
                  <c:v>29.11.21</c:v>
                </c:pt>
                <c:pt idx="116">
                  <c:v>30.11.21</c:v>
                </c:pt>
                <c:pt idx="117">
                  <c:v>01.12.21</c:v>
                </c:pt>
                <c:pt idx="118">
                  <c:v>02.12.21</c:v>
                </c:pt>
                <c:pt idx="119">
                  <c:v>03.12.21</c:v>
                </c:pt>
                <c:pt idx="120">
                  <c:v>04.12.21</c:v>
                </c:pt>
                <c:pt idx="121">
                  <c:v>05.12.21</c:v>
                </c:pt>
                <c:pt idx="122">
                  <c:v>06.12.21</c:v>
                </c:pt>
                <c:pt idx="123">
                  <c:v>07.12.21</c:v>
                </c:pt>
                <c:pt idx="124">
                  <c:v>08.12.21</c:v>
                </c:pt>
                <c:pt idx="125">
                  <c:v>09.12.21</c:v>
                </c:pt>
                <c:pt idx="126">
                  <c:v>10.12.21</c:v>
                </c:pt>
                <c:pt idx="127">
                  <c:v>11.12.21</c:v>
                </c:pt>
                <c:pt idx="128">
                  <c:v>12.12.21</c:v>
                </c:pt>
                <c:pt idx="129">
                  <c:v>13.12.21</c:v>
                </c:pt>
                <c:pt idx="130">
                  <c:v>14.12.21</c:v>
                </c:pt>
                <c:pt idx="131">
                  <c:v>15.12.21</c:v>
                </c:pt>
                <c:pt idx="132">
                  <c:v>16.12.21</c:v>
                </c:pt>
                <c:pt idx="133">
                  <c:v>17.12.21</c:v>
                </c:pt>
                <c:pt idx="134">
                  <c:v>18.12.21</c:v>
                </c:pt>
                <c:pt idx="135">
                  <c:v>19.12.21</c:v>
                </c:pt>
                <c:pt idx="136">
                  <c:v>20.12.21</c:v>
                </c:pt>
                <c:pt idx="137">
                  <c:v>21.12.21</c:v>
                </c:pt>
                <c:pt idx="138">
                  <c:v>22.12.21</c:v>
                </c:pt>
                <c:pt idx="139">
                  <c:v>23.12.21</c:v>
                </c:pt>
                <c:pt idx="140">
                  <c:v>24.12.21</c:v>
                </c:pt>
                <c:pt idx="141">
                  <c:v>25.12.21</c:v>
                </c:pt>
                <c:pt idx="142">
                  <c:v>26.12.21</c:v>
                </c:pt>
                <c:pt idx="143">
                  <c:v>27.12.21</c:v>
                </c:pt>
                <c:pt idx="144">
                  <c:v>28.12.21</c:v>
                </c:pt>
                <c:pt idx="145">
                  <c:v>29.12.21</c:v>
                </c:pt>
                <c:pt idx="146">
                  <c:v>30.12.21</c:v>
                </c:pt>
                <c:pt idx="147">
                  <c:v>31.12.21</c:v>
                </c:pt>
                <c:pt idx="148">
                  <c:v>01.01.22</c:v>
                </c:pt>
                <c:pt idx="149">
                  <c:v>02.01.22</c:v>
                </c:pt>
                <c:pt idx="150">
                  <c:v>03.01.22</c:v>
                </c:pt>
                <c:pt idx="151">
                  <c:v>04.01.22</c:v>
                </c:pt>
                <c:pt idx="152">
                  <c:v>05.01.22</c:v>
                </c:pt>
                <c:pt idx="153">
                  <c:v>06.01.22</c:v>
                </c:pt>
                <c:pt idx="154">
                  <c:v>07.01.22</c:v>
                </c:pt>
                <c:pt idx="155">
                  <c:v>08.01.22</c:v>
                </c:pt>
                <c:pt idx="156">
                  <c:v>09.01.22</c:v>
                </c:pt>
                <c:pt idx="157">
                  <c:v>10.01.22</c:v>
                </c:pt>
                <c:pt idx="158">
                  <c:v>11.01.22</c:v>
                </c:pt>
                <c:pt idx="159">
                  <c:v>12.01.22</c:v>
                </c:pt>
                <c:pt idx="160">
                  <c:v>13.01.22</c:v>
                </c:pt>
                <c:pt idx="161">
                  <c:v>14.01.22</c:v>
                </c:pt>
                <c:pt idx="162">
                  <c:v>15.01.22</c:v>
                </c:pt>
                <c:pt idx="163">
                  <c:v>16.01.22</c:v>
                </c:pt>
                <c:pt idx="164">
                  <c:v>17.01.22</c:v>
                </c:pt>
                <c:pt idx="165">
                  <c:v>18.01.22</c:v>
                </c:pt>
                <c:pt idx="166">
                  <c:v>19.01.22</c:v>
                </c:pt>
                <c:pt idx="167">
                  <c:v>20.01.22</c:v>
                </c:pt>
                <c:pt idx="168">
                  <c:v>21.01.22</c:v>
                </c:pt>
                <c:pt idx="169">
                  <c:v>22.01.22</c:v>
                </c:pt>
                <c:pt idx="170">
                  <c:v>23.01.22</c:v>
                </c:pt>
                <c:pt idx="171">
                  <c:v>24.01.22</c:v>
                </c:pt>
                <c:pt idx="172">
                  <c:v>25.01.22</c:v>
                </c:pt>
                <c:pt idx="173">
                  <c:v>26.01.22</c:v>
                </c:pt>
                <c:pt idx="174">
                  <c:v>27.01.22</c:v>
                </c:pt>
                <c:pt idx="175">
                  <c:v>28.01.22</c:v>
                </c:pt>
                <c:pt idx="176">
                  <c:v>29.01.22</c:v>
                </c:pt>
                <c:pt idx="177">
                  <c:v>30.01.22</c:v>
                </c:pt>
                <c:pt idx="178">
                  <c:v>31.01.22</c:v>
                </c:pt>
                <c:pt idx="179">
                  <c:v>01.02.22</c:v>
                </c:pt>
                <c:pt idx="180">
                  <c:v>02.02.22</c:v>
                </c:pt>
                <c:pt idx="181">
                  <c:v>03.02.22</c:v>
                </c:pt>
                <c:pt idx="182">
                  <c:v>04.02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2</c:v>
                </c:pt>
                <c:pt idx="1">
                  <c:v>0</c:v>
                </c:pt>
                <c:pt idx="2">
                  <c:v>2</c:v>
                </c:pt>
                <c:pt idx="3">
                  <c:v>2</c:v>
                </c:pt>
                <c:pt idx="4">
                  <c:v>0</c:v>
                </c:pt>
                <c:pt idx="5">
                  <c:v>3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3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0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4</c:v>
                </c:pt>
                <c:pt idx="26">
                  <c:v>4</c:v>
                </c:pt>
                <c:pt idx="27">
                  <c:v>1</c:v>
                </c:pt>
                <c:pt idx="28">
                  <c:v>1</c:v>
                </c:pt>
                <c:pt idx="29">
                  <c:v>3</c:v>
                </c:pt>
                <c:pt idx="30">
                  <c:v>1</c:v>
                </c:pt>
                <c:pt idx="31">
                  <c:v>0</c:v>
                </c:pt>
                <c:pt idx="32">
                  <c:v>2</c:v>
                </c:pt>
                <c:pt idx="33">
                  <c:v>0</c:v>
                </c:pt>
                <c:pt idx="34">
                  <c:v>0</c:v>
                </c:pt>
                <c:pt idx="35">
                  <c:v>3</c:v>
                </c:pt>
                <c:pt idx="36">
                  <c:v>3</c:v>
                </c:pt>
                <c:pt idx="37">
                  <c:v>0</c:v>
                </c:pt>
                <c:pt idx="38">
                  <c:v>4</c:v>
                </c:pt>
                <c:pt idx="39">
                  <c:v>2</c:v>
                </c:pt>
                <c:pt idx="40">
                  <c:v>0</c:v>
                </c:pt>
                <c:pt idx="41">
                  <c:v>1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0</c:v>
                </c:pt>
                <c:pt idx="46">
                  <c:v>3</c:v>
                </c:pt>
                <c:pt idx="47">
                  <c:v>3</c:v>
                </c:pt>
                <c:pt idx="48">
                  <c:v>2</c:v>
                </c:pt>
                <c:pt idx="49">
                  <c:v>3</c:v>
                </c:pt>
                <c:pt idx="50">
                  <c:v>0</c:v>
                </c:pt>
                <c:pt idx="51">
                  <c:v>2</c:v>
                </c:pt>
                <c:pt idx="52">
                  <c:v>6</c:v>
                </c:pt>
                <c:pt idx="53">
                  <c:v>4</c:v>
                </c:pt>
                <c:pt idx="54">
                  <c:v>3</c:v>
                </c:pt>
                <c:pt idx="55">
                  <c:v>9</c:v>
                </c:pt>
                <c:pt idx="56">
                  <c:v>2</c:v>
                </c:pt>
                <c:pt idx="57">
                  <c:v>5</c:v>
                </c:pt>
                <c:pt idx="58">
                  <c:v>1</c:v>
                </c:pt>
                <c:pt idx="59">
                  <c:v>0</c:v>
                </c:pt>
                <c:pt idx="60">
                  <c:v>2</c:v>
                </c:pt>
                <c:pt idx="61">
                  <c:v>5</c:v>
                </c:pt>
                <c:pt idx="62">
                  <c:v>6</c:v>
                </c:pt>
                <c:pt idx="63">
                  <c:v>6</c:v>
                </c:pt>
                <c:pt idx="64">
                  <c:v>1</c:v>
                </c:pt>
                <c:pt idx="65">
                  <c:v>1</c:v>
                </c:pt>
                <c:pt idx="66">
                  <c:v>3</c:v>
                </c:pt>
                <c:pt idx="67">
                  <c:v>10</c:v>
                </c:pt>
                <c:pt idx="68">
                  <c:v>7</c:v>
                </c:pt>
                <c:pt idx="69">
                  <c:v>7</c:v>
                </c:pt>
                <c:pt idx="70">
                  <c:v>6</c:v>
                </c:pt>
                <c:pt idx="71">
                  <c:v>5</c:v>
                </c:pt>
                <c:pt idx="72">
                  <c:v>8</c:v>
                </c:pt>
                <c:pt idx="73">
                  <c:v>17</c:v>
                </c:pt>
                <c:pt idx="74">
                  <c:v>16</c:v>
                </c:pt>
                <c:pt idx="75">
                  <c:v>13</c:v>
                </c:pt>
                <c:pt idx="76">
                  <c:v>13</c:v>
                </c:pt>
                <c:pt idx="77">
                  <c:v>16</c:v>
                </c:pt>
                <c:pt idx="78">
                  <c:v>13</c:v>
                </c:pt>
                <c:pt idx="79">
                  <c:v>12</c:v>
                </c:pt>
                <c:pt idx="80">
                  <c:v>28</c:v>
                </c:pt>
                <c:pt idx="81">
                  <c:v>20</c:v>
                </c:pt>
                <c:pt idx="82">
                  <c:v>23</c:v>
                </c:pt>
                <c:pt idx="83">
                  <c:v>22</c:v>
                </c:pt>
                <c:pt idx="84">
                  <c:v>36</c:v>
                </c:pt>
                <c:pt idx="85">
                  <c:v>21</c:v>
                </c:pt>
                <c:pt idx="86">
                  <c:v>18</c:v>
                </c:pt>
                <c:pt idx="87">
                  <c:v>55</c:v>
                </c:pt>
                <c:pt idx="88">
                  <c:v>38</c:v>
                </c:pt>
                <c:pt idx="89">
                  <c:v>38</c:v>
                </c:pt>
                <c:pt idx="90">
                  <c:v>27</c:v>
                </c:pt>
                <c:pt idx="91">
                  <c:v>40</c:v>
                </c:pt>
                <c:pt idx="92">
                  <c:v>20</c:v>
                </c:pt>
                <c:pt idx="93">
                  <c:v>18</c:v>
                </c:pt>
                <c:pt idx="94">
                  <c:v>52</c:v>
                </c:pt>
                <c:pt idx="95">
                  <c:v>46</c:v>
                </c:pt>
                <c:pt idx="96">
                  <c:v>48</c:v>
                </c:pt>
                <c:pt idx="97">
                  <c:v>50</c:v>
                </c:pt>
                <c:pt idx="98">
                  <c:v>42</c:v>
                </c:pt>
                <c:pt idx="99">
                  <c:v>49</c:v>
                </c:pt>
                <c:pt idx="100">
                  <c:v>22</c:v>
                </c:pt>
                <c:pt idx="101">
                  <c:v>63</c:v>
                </c:pt>
                <c:pt idx="102">
                  <c:v>57</c:v>
                </c:pt>
                <c:pt idx="103">
                  <c:v>44</c:v>
                </c:pt>
                <c:pt idx="104">
                  <c:v>54</c:v>
                </c:pt>
                <c:pt idx="105">
                  <c:v>78</c:v>
                </c:pt>
                <c:pt idx="106">
                  <c:v>45</c:v>
                </c:pt>
                <c:pt idx="107">
                  <c:v>31</c:v>
                </c:pt>
                <c:pt idx="108">
                  <c:v>60</c:v>
                </c:pt>
                <c:pt idx="109">
                  <c:v>71</c:v>
                </c:pt>
                <c:pt idx="110">
                  <c:v>41</c:v>
                </c:pt>
                <c:pt idx="111">
                  <c:v>66</c:v>
                </c:pt>
                <c:pt idx="112">
                  <c:v>54</c:v>
                </c:pt>
                <c:pt idx="113">
                  <c:v>34</c:v>
                </c:pt>
                <c:pt idx="114">
                  <c:v>40</c:v>
                </c:pt>
                <c:pt idx="115">
                  <c:v>57</c:v>
                </c:pt>
                <c:pt idx="116">
                  <c:v>46</c:v>
                </c:pt>
                <c:pt idx="117">
                  <c:v>55</c:v>
                </c:pt>
                <c:pt idx="118">
                  <c:v>39</c:v>
                </c:pt>
                <c:pt idx="119">
                  <c:v>50</c:v>
                </c:pt>
                <c:pt idx="120">
                  <c:v>24</c:v>
                </c:pt>
                <c:pt idx="121">
                  <c:v>15</c:v>
                </c:pt>
                <c:pt idx="122">
                  <c:v>45</c:v>
                </c:pt>
                <c:pt idx="123">
                  <c:v>40</c:v>
                </c:pt>
                <c:pt idx="124">
                  <c:v>30</c:v>
                </c:pt>
                <c:pt idx="125">
                  <c:v>30</c:v>
                </c:pt>
                <c:pt idx="126">
                  <c:v>33</c:v>
                </c:pt>
                <c:pt idx="127">
                  <c:v>19</c:v>
                </c:pt>
                <c:pt idx="128">
                  <c:v>11</c:v>
                </c:pt>
                <c:pt idx="129">
                  <c:v>29</c:v>
                </c:pt>
                <c:pt idx="130">
                  <c:v>25</c:v>
                </c:pt>
                <c:pt idx="131">
                  <c:v>23</c:v>
                </c:pt>
                <c:pt idx="132">
                  <c:v>16</c:v>
                </c:pt>
                <c:pt idx="133">
                  <c:v>22</c:v>
                </c:pt>
                <c:pt idx="134">
                  <c:v>20</c:v>
                </c:pt>
                <c:pt idx="135">
                  <c:v>15</c:v>
                </c:pt>
                <c:pt idx="136">
                  <c:v>27</c:v>
                </c:pt>
                <c:pt idx="137">
                  <c:v>27</c:v>
                </c:pt>
                <c:pt idx="138">
                  <c:v>21</c:v>
                </c:pt>
                <c:pt idx="139">
                  <c:v>22</c:v>
                </c:pt>
                <c:pt idx="140">
                  <c:v>4</c:v>
                </c:pt>
                <c:pt idx="141">
                  <c:v>11</c:v>
                </c:pt>
                <c:pt idx="142">
                  <c:v>8</c:v>
                </c:pt>
                <c:pt idx="143">
                  <c:v>24</c:v>
                </c:pt>
                <c:pt idx="144">
                  <c:v>32</c:v>
                </c:pt>
                <c:pt idx="145">
                  <c:v>23</c:v>
                </c:pt>
                <c:pt idx="146">
                  <c:v>20</c:v>
                </c:pt>
                <c:pt idx="147">
                  <c:v>18</c:v>
                </c:pt>
                <c:pt idx="148">
                  <c:v>7</c:v>
                </c:pt>
                <c:pt idx="149">
                  <c:v>24</c:v>
                </c:pt>
                <c:pt idx="150">
                  <c:v>33</c:v>
                </c:pt>
                <c:pt idx="151">
                  <c:v>26</c:v>
                </c:pt>
                <c:pt idx="152">
                  <c:v>20</c:v>
                </c:pt>
                <c:pt idx="153">
                  <c:v>25</c:v>
                </c:pt>
                <c:pt idx="154">
                  <c:v>18</c:v>
                </c:pt>
                <c:pt idx="155">
                  <c:v>17</c:v>
                </c:pt>
                <c:pt idx="156">
                  <c:v>13</c:v>
                </c:pt>
                <c:pt idx="157">
                  <c:v>32</c:v>
                </c:pt>
                <c:pt idx="158">
                  <c:v>46</c:v>
                </c:pt>
                <c:pt idx="159">
                  <c:v>70</c:v>
                </c:pt>
                <c:pt idx="160">
                  <c:v>39</c:v>
                </c:pt>
                <c:pt idx="161">
                  <c:v>45</c:v>
                </c:pt>
                <c:pt idx="162">
                  <c:v>31</c:v>
                </c:pt>
                <c:pt idx="163">
                  <c:v>40</c:v>
                </c:pt>
                <c:pt idx="164">
                  <c:v>108</c:v>
                </c:pt>
                <c:pt idx="165">
                  <c:v>86</c:v>
                </c:pt>
                <c:pt idx="166">
                  <c:v>115</c:v>
                </c:pt>
                <c:pt idx="167">
                  <c:v>106</c:v>
                </c:pt>
                <c:pt idx="168">
                  <c:v>90</c:v>
                </c:pt>
                <c:pt idx="169">
                  <c:v>57</c:v>
                </c:pt>
                <c:pt idx="170">
                  <c:v>69</c:v>
                </c:pt>
                <c:pt idx="171">
                  <c:v>179</c:v>
                </c:pt>
                <c:pt idx="172">
                  <c:v>153</c:v>
                </c:pt>
                <c:pt idx="173">
                  <c:v>166</c:v>
                </c:pt>
                <c:pt idx="174">
                  <c:v>121</c:v>
                </c:pt>
                <c:pt idx="175">
                  <c:v>151</c:v>
                </c:pt>
                <c:pt idx="176">
                  <c:v>56</c:v>
                </c:pt>
                <c:pt idx="177">
                  <c:v>98</c:v>
                </c:pt>
                <c:pt idx="178">
                  <c:v>165</c:v>
                </c:pt>
                <c:pt idx="179">
                  <c:v>194</c:v>
                </c:pt>
                <c:pt idx="180">
                  <c:v>149</c:v>
                </c:pt>
                <c:pt idx="181">
                  <c:v>125</c:v>
                </c:pt>
                <c:pt idx="182">
                  <c:v>1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3.5507512293320191E-3"/>
                  <c:y val="-7.92633711202343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244118952507763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6.08.21</c:v>
                </c:pt>
                <c:pt idx="1">
                  <c:v>07.08.21</c:v>
                </c:pt>
                <c:pt idx="2">
                  <c:v>08.08.21</c:v>
                </c:pt>
                <c:pt idx="3">
                  <c:v>09.08.21</c:v>
                </c:pt>
                <c:pt idx="4">
                  <c:v>10.08.21</c:v>
                </c:pt>
                <c:pt idx="5">
                  <c:v>11.08.21</c:v>
                </c:pt>
                <c:pt idx="6">
                  <c:v>12.08.21</c:v>
                </c:pt>
                <c:pt idx="7">
                  <c:v>13.08.21</c:v>
                </c:pt>
                <c:pt idx="8">
                  <c:v>14.08.21</c:v>
                </c:pt>
                <c:pt idx="9">
                  <c:v>15.08.21</c:v>
                </c:pt>
                <c:pt idx="10">
                  <c:v>16.08.21</c:v>
                </c:pt>
                <c:pt idx="11">
                  <c:v>17.08.21</c:v>
                </c:pt>
                <c:pt idx="12">
                  <c:v>18.08.21</c:v>
                </c:pt>
                <c:pt idx="13">
                  <c:v>19.08.21</c:v>
                </c:pt>
                <c:pt idx="14">
                  <c:v>20.08.21</c:v>
                </c:pt>
                <c:pt idx="15">
                  <c:v>21.08.21</c:v>
                </c:pt>
                <c:pt idx="16">
                  <c:v>22.08.21</c:v>
                </c:pt>
                <c:pt idx="17">
                  <c:v>23.08.21</c:v>
                </c:pt>
                <c:pt idx="18">
                  <c:v>24.08.21</c:v>
                </c:pt>
                <c:pt idx="19">
                  <c:v>25.08.21</c:v>
                </c:pt>
                <c:pt idx="20">
                  <c:v>26.08.21</c:v>
                </c:pt>
                <c:pt idx="21">
                  <c:v>27.08.21</c:v>
                </c:pt>
                <c:pt idx="22">
                  <c:v>28.08.21</c:v>
                </c:pt>
                <c:pt idx="23">
                  <c:v>29.08.21</c:v>
                </c:pt>
                <c:pt idx="24">
                  <c:v>30.08.21</c:v>
                </c:pt>
                <c:pt idx="25">
                  <c:v>31.08.21</c:v>
                </c:pt>
                <c:pt idx="26">
                  <c:v>01.09.21</c:v>
                </c:pt>
                <c:pt idx="27">
                  <c:v>02.09.21</c:v>
                </c:pt>
                <c:pt idx="28">
                  <c:v>03.09.21</c:v>
                </c:pt>
                <c:pt idx="29">
                  <c:v>04.09.21</c:v>
                </c:pt>
                <c:pt idx="30">
                  <c:v>05.09.21</c:v>
                </c:pt>
                <c:pt idx="31">
                  <c:v>06.09.21</c:v>
                </c:pt>
                <c:pt idx="32">
                  <c:v>07.09.21</c:v>
                </c:pt>
                <c:pt idx="33">
                  <c:v>08.09.21</c:v>
                </c:pt>
                <c:pt idx="34">
                  <c:v>09.09.21</c:v>
                </c:pt>
                <c:pt idx="35">
                  <c:v>10.09.21</c:v>
                </c:pt>
                <c:pt idx="36">
                  <c:v>11.09.21</c:v>
                </c:pt>
                <c:pt idx="37">
                  <c:v>12.09.21</c:v>
                </c:pt>
                <c:pt idx="38">
                  <c:v>13.09.21</c:v>
                </c:pt>
                <c:pt idx="39">
                  <c:v>14.09.21</c:v>
                </c:pt>
                <c:pt idx="40">
                  <c:v>15.09.21</c:v>
                </c:pt>
                <c:pt idx="41">
                  <c:v>16.09.21</c:v>
                </c:pt>
                <c:pt idx="42">
                  <c:v>17.09.21</c:v>
                </c:pt>
                <c:pt idx="43">
                  <c:v>18.09.21</c:v>
                </c:pt>
                <c:pt idx="44">
                  <c:v>19.09.21</c:v>
                </c:pt>
                <c:pt idx="45">
                  <c:v>20.09.21</c:v>
                </c:pt>
                <c:pt idx="46">
                  <c:v>21.09.21</c:v>
                </c:pt>
                <c:pt idx="47">
                  <c:v>22.09.21</c:v>
                </c:pt>
                <c:pt idx="48">
                  <c:v>23.09.21</c:v>
                </c:pt>
                <c:pt idx="49">
                  <c:v>24.09.21</c:v>
                </c:pt>
                <c:pt idx="50">
                  <c:v>25.09.21</c:v>
                </c:pt>
                <c:pt idx="51">
                  <c:v>26.09.21</c:v>
                </c:pt>
                <c:pt idx="52">
                  <c:v>27.09.21</c:v>
                </c:pt>
                <c:pt idx="53">
                  <c:v>28.09.21</c:v>
                </c:pt>
                <c:pt idx="54">
                  <c:v>29.09.21</c:v>
                </c:pt>
                <c:pt idx="55">
                  <c:v>30.09.21</c:v>
                </c:pt>
                <c:pt idx="56">
                  <c:v>01.10.21</c:v>
                </c:pt>
                <c:pt idx="57">
                  <c:v>02.10.21</c:v>
                </c:pt>
                <c:pt idx="58">
                  <c:v>03.10.21</c:v>
                </c:pt>
                <c:pt idx="59">
                  <c:v>04.10.21</c:v>
                </c:pt>
                <c:pt idx="60">
                  <c:v>05.10.21</c:v>
                </c:pt>
                <c:pt idx="61">
                  <c:v>06.10.21</c:v>
                </c:pt>
                <c:pt idx="62">
                  <c:v>07.10.21</c:v>
                </c:pt>
                <c:pt idx="63">
                  <c:v>08.10.21</c:v>
                </c:pt>
                <c:pt idx="64">
                  <c:v>09.10.21</c:v>
                </c:pt>
                <c:pt idx="65">
                  <c:v>10.10.21</c:v>
                </c:pt>
                <c:pt idx="66">
                  <c:v>11.10.21</c:v>
                </c:pt>
                <c:pt idx="67">
                  <c:v>12.10.21</c:v>
                </c:pt>
                <c:pt idx="68">
                  <c:v>13.10.21</c:v>
                </c:pt>
                <c:pt idx="69">
                  <c:v>14.10.21</c:v>
                </c:pt>
                <c:pt idx="70">
                  <c:v>15.10.21</c:v>
                </c:pt>
                <c:pt idx="71">
                  <c:v>16.10.21</c:v>
                </c:pt>
                <c:pt idx="72">
                  <c:v>17.10.21</c:v>
                </c:pt>
                <c:pt idx="73">
                  <c:v>18.10.21</c:v>
                </c:pt>
                <c:pt idx="74">
                  <c:v>19.10.21</c:v>
                </c:pt>
                <c:pt idx="75">
                  <c:v>20.10.21</c:v>
                </c:pt>
                <c:pt idx="76">
                  <c:v>21.10.21</c:v>
                </c:pt>
                <c:pt idx="77">
                  <c:v>22.10.21</c:v>
                </c:pt>
                <c:pt idx="78">
                  <c:v>23.10.21</c:v>
                </c:pt>
                <c:pt idx="79">
                  <c:v>24.10.21</c:v>
                </c:pt>
                <c:pt idx="80">
                  <c:v>25.10.21</c:v>
                </c:pt>
                <c:pt idx="81">
                  <c:v>26.10.21</c:v>
                </c:pt>
                <c:pt idx="82">
                  <c:v>27.10.21</c:v>
                </c:pt>
                <c:pt idx="83">
                  <c:v>28.10.21</c:v>
                </c:pt>
                <c:pt idx="84">
                  <c:v>29.10.21</c:v>
                </c:pt>
                <c:pt idx="85">
                  <c:v>30.10.21</c:v>
                </c:pt>
                <c:pt idx="86">
                  <c:v>31.10.21</c:v>
                </c:pt>
                <c:pt idx="87">
                  <c:v>01.11.21</c:v>
                </c:pt>
                <c:pt idx="88">
                  <c:v>02.11.21</c:v>
                </c:pt>
                <c:pt idx="89">
                  <c:v>03.11.21</c:v>
                </c:pt>
                <c:pt idx="90">
                  <c:v>04.11.21</c:v>
                </c:pt>
                <c:pt idx="91">
                  <c:v>05.11.21</c:v>
                </c:pt>
                <c:pt idx="92">
                  <c:v>06.11.21</c:v>
                </c:pt>
                <c:pt idx="93">
                  <c:v>07.11.21</c:v>
                </c:pt>
                <c:pt idx="94">
                  <c:v>08.11.21</c:v>
                </c:pt>
                <c:pt idx="95">
                  <c:v>09.11.21</c:v>
                </c:pt>
                <c:pt idx="96">
                  <c:v>10.11.21</c:v>
                </c:pt>
                <c:pt idx="97">
                  <c:v>11.11.21</c:v>
                </c:pt>
                <c:pt idx="98">
                  <c:v>12.11.21</c:v>
                </c:pt>
                <c:pt idx="99">
                  <c:v>13.11.21</c:v>
                </c:pt>
                <c:pt idx="100">
                  <c:v>14.11.21</c:v>
                </c:pt>
                <c:pt idx="101">
                  <c:v>15.11.21</c:v>
                </c:pt>
                <c:pt idx="102">
                  <c:v>16.11.21</c:v>
                </c:pt>
                <c:pt idx="103">
                  <c:v>17.11.21</c:v>
                </c:pt>
                <c:pt idx="104">
                  <c:v>18.11.21</c:v>
                </c:pt>
                <c:pt idx="105">
                  <c:v>19.11.21</c:v>
                </c:pt>
                <c:pt idx="106">
                  <c:v>20.11.21</c:v>
                </c:pt>
                <c:pt idx="107">
                  <c:v>21.11.21</c:v>
                </c:pt>
                <c:pt idx="108">
                  <c:v>22.11.21</c:v>
                </c:pt>
                <c:pt idx="109">
                  <c:v>23.11.21</c:v>
                </c:pt>
                <c:pt idx="110">
                  <c:v>24.11.21</c:v>
                </c:pt>
                <c:pt idx="111">
                  <c:v>25.11.21</c:v>
                </c:pt>
                <c:pt idx="112">
                  <c:v>26.11.21</c:v>
                </c:pt>
                <c:pt idx="113">
                  <c:v>27.11.21</c:v>
                </c:pt>
                <c:pt idx="114">
                  <c:v>28.11.21</c:v>
                </c:pt>
                <c:pt idx="115">
                  <c:v>29.11.21</c:v>
                </c:pt>
                <c:pt idx="116">
                  <c:v>30.11.21</c:v>
                </c:pt>
                <c:pt idx="117">
                  <c:v>01.12.21</c:v>
                </c:pt>
                <c:pt idx="118">
                  <c:v>02.12.21</c:v>
                </c:pt>
                <c:pt idx="119">
                  <c:v>03.12.21</c:v>
                </c:pt>
                <c:pt idx="120">
                  <c:v>04.12.21</c:v>
                </c:pt>
                <c:pt idx="121">
                  <c:v>05.12.21</c:v>
                </c:pt>
                <c:pt idx="122">
                  <c:v>06.12.21</c:v>
                </c:pt>
                <c:pt idx="123">
                  <c:v>07.12.21</c:v>
                </c:pt>
                <c:pt idx="124">
                  <c:v>08.12.21</c:v>
                </c:pt>
                <c:pt idx="125">
                  <c:v>09.12.21</c:v>
                </c:pt>
                <c:pt idx="126">
                  <c:v>10.12.21</c:v>
                </c:pt>
                <c:pt idx="127">
                  <c:v>11.12.21</c:v>
                </c:pt>
                <c:pt idx="128">
                  <c:v>12.12.21</c:v>
                </c:pt>
                <c:pt idx="129">
                  <c:v>13.12.21</c:v>
                </c:pt>
                <c:pt idx="130">
                  <c:v>14.12.21</c:v>
                </c:pt>
                <c:pt idx="131">
                  <c:v>15.12.21</c:v>
                </c:pt>
                <c:pt idx="132">
                  <c:v>16.12.21</c:v>
                </c:pt>
                <c:pt idx="133">
                  <c:v>17.12.21</c:v>
                </c:pt>
                <c:pt idx="134">
                  <c:v>18.12.21</c:v>
                </c:pt>
                <c:pt idx="135">
                  <c:v>19.12.21</c:v>
                </c:pt>
                <c:pt idx="136">
                  <c:v>20.12.21</c:v>
                </c:pt>
                <c:pt idx="137">
                  <c:v>21.12.21</c:v>
                </c:pt>
                <c:pt idx="138">
                  <c:v>22.12.21</c:v>
                </c:pt>
                <c:pt idx="139">
                  <c:v>23.12.21</c:v>
                </c:pt>
                <c:pt idx="140">
                  <c:v>24.12.21</c:v>
                </c:pt>
                <c:pt idx="141">
                  <c:v>25.12.21</c:v>
                </c:pt>
                <c:pt idx="142">
                  <c:v>26.12.21</c:v>
                </c:pt>
                <c:pt idx="143">
                  <c:v>27.12.21</c:v>
                </c:pt>
                <c:pt idx="144">
                  <c:v>28.12.21</c:v>
                </c:pt>
                <c:pt idx="145">
                  <c:v>29.12.21</c:v>
                </c:pt>
                <c:pt idx="146">
                  <c:v>30.12.21</c:v>
                </c:pt>
                <c:pt idx="147">
                  <c:v>31.12.21</c:v>
                </c:pt>
                <c:pt idx="148">
                  <c:v>01.01.22</c:v>
                </c:pt>
                <c:pt idx="149">
                  <c:v>02.01.22</c:v>
                </c:pt>
                <c:pt idx="150">
                  <c:v>03.01.22</c:v>
                </c:pt>
                <c:pt idx="151">
                  <c:v>04.01.22</c:v>
                </c:pt>
                <c:pt idx="152">
                  <c:v>05.01.22</c:v>
                </c:pt>
                <c:pt idx="153">
                  <c:v>06.01.22</c:v>
                </c:pt>
                <c:pt idx="154">
                  <c:v>07.01.22</c:v>
                </c:pt>
                <c:pt idx="155">
                  <c:v>08.01.22</c:v>
                </c:pt>
                <c:pt idx="156">
                  <c:v>09.01.22</c:v>
                </c:pt>
                <c:pt idx="157">
                  <c:v>10.01.22</c:v>
                </c:pt>
                <c:pt idx="158">
                  <c:v>11.01.22</c:v>
                </c:pt>
                <c:pt idx="159">
                  <c:v>12.01.22</c:v>
                </c:pt>
                <c:pt idx="160">
                  <c:v>13.01.22</c:v>
                </c:pt>
                <c:pt idx="161">
                  <c:v>14.01.22</c:v>
                </c:pt>
                <c:pt idx="162">
                  <c:v>15.01.22</c:v>
                </c:pt>
                <c:pt idx="163">
                  <c:v>16.01.22</c:v>
                </c:pt>
                <c:pt idx="164">
                  <c:v>17.01.22</c:v>
                </c:pt>
                <c:pt idx="165">
                  <c:v>18.01.22</c:v>
                </c:pt>
                <c:pt idx="166">
                  <c:v>19.01.22</c:v>
                </c:pt>
                <c:pt idx="167">
                  <c:v>20.01.22</c:v>
                </c:pt>
                <c:pt idx="168">
                  <c:v>21.01.22</c:v>
                </c:pt>
                <c:pt idx="169">
                  <c:v>22.01.22</c:v>
                </c:pt>
                <c:pt idx="170">
                  <c:v>23.01.22</c:v>
                </c:pt>
                <c:pt idx="171">
                  <c:v>24.01.22</c:v>
                </c:pt>
                <c:pt idx="172">
                  <c:v>25.01.22</c:v>
                </c:pt>
                <c:pt idx="173">
                  <c:v>26.01.22</c:v>
                </c:pt>
                <c:pt idx="174">
                  <c:v>27.01.22</c:v>
                </c:pt>
                <c:pt idx="175">
                  <c:v>28.01.22</c:v>
                </c:pt>
                <c:pt idx="176">
                  <c:v>29.01.22</c:v>
                </c:pt>
                <c:pt idx="177">
                  <c:v>30.01.22</c:v>
                </c:pt>
                <c:pt idx="178">
                  <c:v>31.01.22</c:v>
                </c:pt>
                <c:pt idx="179">
                  <c:v>01.02.22</c:v>
                </c:pt>
                <c:pt idx="180">
                  <c:v>02.02.22</c:v>
                </c:pt>
                <c:pt idx="181">
                  <c:v>03.02.22</c:v>
                </c:pt>
                <c:pt idx="182">
                  <c:v>04.02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2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4</c:v>
                </c:pt>
                <c:pt idx="18">
                  <c:v>2</c:v>
                </c:pt>
                <c:pt idx="19">
                  <c:v>0</c:v>
                </c:pt>
                <c:pt idx="20">
                  <c:v>2</c:v>
                </c:pt>
                <c:pt idx="21">
                  <c:v>1</c:v>
                </c:pt>
                <c:pt idx="22">
                  <c:v>2</c:v>
                </c:pt>
                <c:pt idx="23">
                  <c:v>1</c:v>
                </c:pt>
                <c:pt idx="24">
                  <c:v>0</c:v>
                </c:pt>
                <c:pt idx="25">
                  <c:v>2</c:v>
                </c:pt>
                <c:pt idx="26">
                  <c:v>1</c:v>
                </c:pt>
                <c:pt idx="27">
                  <c:v>5</c:v>
                </c:pt>
                <c:pt idx="28">
                  <c:v>6</c:v>
                </c:pt>
                <c:pt idx="29">
                  <c:v>1</c:v>
                </c:pt>
                <c:pt idx="30">
                  <c:v>0</c:v>
                </c:pt>
                <c:pt idx="31">
                  <c:v>2</c:v>
                </c:pt>
                <c:pt idx="32">
                  <c:v>6</c:v>
                </c:pt>
                <c:pt idx="33">
                  <c:v>1</c:v>
                </c:pt>
                <c:pt idx="34">
                  <c:v>4</c:v>
                </c:pt>
                <c:pt idx="35">
                  <c:v>0</c:v>
                </c:pt>
                <c:pt idx="36">
                  <c:v>1</c:v>
                </c:pt>
                <c:pt idx="37">
                  <c:v>2</c:v>
                </c:pt>
                <c:pt idx="38">
                  <c:v>3</c:v>
                </c:pt>
                <c:pt idx="39">
                  <c:v>4</c:v>
                </c:pt>
                <c:pt idx="40">
                  <c:v>3</c:v>
                </c:pt>
                <c:pt idx="41">
                  <c:v>7</c:v>
                </c:pt>
                <c:pt idx="42">
                  <c:v>5</c:v>
                </c:pt>
                <c:pt idx="43">
                  <c:v>2</c:v>
                </c:pt>
                <c:pt idx="44">
                  <c:v>2</c:v>
                </c:pt>
                <c:pt idx="45">
                  <c:v>10</c:v>
                </c:pt>
                <c:pt idx="46">
                  <c:v>7</c:v>
                </c:pt>
                <c:pt idx="47">
                  <c:v>6</c:v>
                </c:pt>
                <c:pt idx="48">
                  <c:v>5</c:v>
                </c:pt>
                <c:pt idx="49">
                  <c:v>7</c:v>
                </c:pt>
                <c:pt idx="50">
                  <c:v>6</c:v>
                </c:pt>
                <c:pt idx="51">
                  <c:v>6</c:v>
                </c:pt>
                <c:pt idx="52">
                  <c:v>5</c:v>
                </c:pt>
                <c:pt idx="53">
                  <c:v>7</c:v>
                </c:pt>
                <c:pt idx="54">
                  <c:v>12</c:v>
                </c:pt>
                <c:pt idx="55">
                  <c:v>15</c:v>
                </c:pt>
                <c:pt idx="56">
                  <c:v>7</c:v>
                </c:pt>
                <c:pt idx="57">
                  <c:v>5</c:v>
                </c:pt>
                <c:pt idx="58">
                  <c:v>8</c:v>
                </c:pt>
                <c:pt idx="59">
                  <c:v>10</c:v>
                </c:pt>
                <c:pt idx="60">
                  <c:v>12</c:v>
                </c:pt>
                <c:pt idx="61">
                  <c:v>9</c:v>
                </c:pt>
                <c:pt idx="62">
                  <c:v>8</c:v>
                </c:pt>
                <c:pt idx="63">
                  <c:v>9</c:v>
                </c:pt>
                <c:pt idx="64">
                  <c:v>5</c:v>
                </c:pt>
                <c:pt idx="65">
                  <c:v>4</c:v>
                </c:pt>
                <c:pt idx="66">
                  <c:v>17</c:v>
                </c:pt>
                <c:pt idx="67">
                  <c:v>17</c:v>
                </c:pt>
                <c:pt idx="68">
                  <c:v>20</c:v>
                </c:pt>
                <c:pt idx="69">
                  <c:v>19</c:v>
                </c:pt>
                <c:pt idx="70">
                  <c:v>17</c:v>
                </c:pt>
                <c:pt idx="71">
                  <c:v>10</c:v>
                </c:pt>
                <c:pt idx="72">
                  <c:v>10</c:v>
                </c:pt>
                <c:pt idx="73">
                  <c:v>32</c:v>
                </c:pt>
                <c:pt idx="74">
                  <c:v>25</c:v>
                </c:pt>
                <c:pt idx="75">
                  <c:v>24</c:v>
                </c:pt>
                <c:pt idx="76">
                  <c:v>49</c:v>
                </c:pt>
                <c:pt idx="77">
                  <c:v>38</c:v>
                </c:pt>
                <c:pt idx="78">
                  <c:v>31</c:v>
                </c:pt>
                <c:pt idx="79">
                  <c:v>11</c:v>
                </c:pt>
                <c:pt idx="80">
                  <c:v>58</c:v>
                </c:pt>
                <c:pt idx="81">
                  <c:v>63</c:v>
                </c:pt>
                <c:pt idx="82">
                  <c:v>71</c:v>
                </c:pt>
                <c:pt idx="83">
                  <c:v>32</c:v>
                </c:pt>
                <c:pt idx="84">
                  <c:v>76</c:v>
                </c:pt>
                <c:pt idx="85">
                  <c:v>56</c:v>
                </c:pt>
                <c:pt idx="86">
                  <c:v>37</c:v>
                </c:pt>
                <c:pt idx="87">
                  <c:v>103</c:v>
                </c:pt>
                <c:pt idx="88">
                  <c:v>100</c:v>
                </c:pt>
                <c:pt idx="89">
                  <c:v>107</c:v>
                </c:pt>
                <c:pt idx="90">
                  <c:v>96</c:v>
                </c:pt>
                <c:pt idx="91">
                  <c:v>107</c:v>
                </c:pt>
                <c:pt idx="92">
                  <c:v>78</c:v>
                </c:pt>
                <c:pt idx="93">
                  <c:v>25</c:v>
                </c:pt>
                <c:pt idx="94">
                  <c:v>120</c:v>
                </c:pt>
                <c:pt idx="95">
                  <c:v>133</c:v>
                </c:pt>
                <c:pt idx="96">
                  <c:v>164</c:v>
                </c:pt>
                <c:pt idx="97">
                  <c:v>91</c:v>
                </c:pt>
                <c:pt idx="98">
                  <c:v>150</c:v>
                </c:pt>
                <c:pt idx="99">
                  <c:v>86</c:v>
                </c:pt>
                <c:pt idx="100">
                  <c:v>52</c:v>
                </c:pt>
                <c:pt idx="101">
                  <c:v>148</c:v>
                </c:pt>
                <c:pt idx="102">
                  <c:v>214</c:v>
                </c:pt>
                <c:pt idx="103">
                  <c:v>106</c:v>
                </c:pt>
                <c:pt idx="104">
                  <c:v>152</c:v>
                </c:pt>
                <c:pt idx="105">
                  <c:v>213</c:v>
                </c:pt>
                <c:pt idx="106">
                  <c:v>145</c:v>
                </c:pt>
                <c:pt idx="107">
                  <c:v>78</c:v>
                </c:pt>
                <c:pt idx="108">
                  <c:v>181</c:v>
                </c:pt>
                <c:pt idx="109">
                  <c:v>239</c:v>
                </c:pt>
                <c:pt idx="110">
                  <c:v>129</c:v>
                </c:pt>
                <c:pt idx="111">
                  <c:v>197</c:v>
                </c:pt>
                <c:pt idx="112">
                  <c:v>177</c:v>
                </c:pt>
                <c:pt idx="113">
                  <c:v>99</c:v>
                </c:pt>
                <c:pt idx="114">
                  <c:v>74</c:v>
                </c:pt>
                <c:pt idx="115">
                  <c:v>187</c:v>
                </c:pt>
                <c:pt idx="116">
                  <c:v>149</c:v>
                </c:pt>
                <c:pt idx="117">
                  <c:v>155</c:v>
                </c:pt>
                <c:pt idx="118">
                  <c:v>133</c:v>
                </c:pt>
                <c:pt idx="119">
                  <c:v>127</c:v>
                </c:pt>
                <c:pt idx="120">
                  <c:v>79</c:v>
                </c:pt>
                <c:pt idx="121">
                  <c:v>59</c:v>
                </c:pt>
                <c:pt idx="122">
                  <c:v>150</c:v>
                </c:pt>
                <c:pt idx="123">
                  <c:v>143</c:v>
                </c:pt>
                <c:pt idx="124">
                  <c:v>108</c:v>
                </c:pt>
                <c:pt idx="125">
                  <c:v>118</c:v>
                </c:pt>
                <c:pt idx="126">
                  <c:v>104</c:v>
                </c:pt>
                <c:pt idx="127">
                  <c:v>70</c:v>
                </c:pt>
                <c:pt idx="128">
                  <c:v>50</c:v>
                </c:pt>
                <c:pt idx="129">
                  <c:v>95</c:v>
                </c:pt>
                <c:pt idx="130">
                  <c:v>113</c:v>
                </c:pt>
                <c:pt idx="131">
                  <c:v>77</c:v>
                </c:pt>
                <c:pt idx="132">
                  <c:v>60</c:v>
                </c:pt>
                <c:pt idx="133">
                  <c:v>71</c:v>
                </c:pt>
                <c:pt idx="134">
                  <c:v>45</c:v>
                </c:pt>
                <c:pt idx="135">
                  <c:v>29</c:v>
                </c:pt>
                <c:pt idx="136">
                  <c:v>82</c:v>
                </c:pt>
                <c:pt idx="137">
                  <c:v>74</c:v>
                </c:pt>
                <c:pt idx="138">
                  <c:v>50</c:v>
                </c:pt>
                <c:pt idx="139">
                  <c:v>55</c:v>
                </c:pt>
                <c:pt idx="140">
                  <c:v>17</c:v>
                </c:pt>
                <c:pt idx="141">
                  <c:v>18</c:v>
                </c:pt>
                <c:pt idx="142">
                  <c:v>16</c:v>
                </c:pt>
                <c:pt idx="143">
                  <c:v>71</c:v>
                </c:pt>
                <c:pt idx="144">
                  <c:v>84</c:v>
                </c:pt>
                <c:pt idx="145">
                  <c:v>50</c:v>
                </c:pt>
                <c:pt idx="146">
                  <c:v>46</c:v>
                </c:pt>
                <c:pt idx="147">
                  <c:v>43</c:v>
                </c:pt>
                <c:pt idx="148">
                  <c:v>10</c:v>
                </c:pt>
                <c:pt idx="149">
                  <c:v>33</c:v>
                </c:pt>
                <c:pt idx="150">
                  <c:v>80</c:v>
                </c:pt>
                <c:pt idx="151">
                  <c:v>66</c:v>
                </c:pt>
                <c:pt idx="152">
                  <c:v>44</c:v>
                </c:pt>
                <c:pt idx="153">
                  <c:v>49</c:v>
                </c:pt>
                <c:pt idx="154">
                  <c:v>56</c:v>
                </c:pt>
                <c:pt idx="155">
                  <c:v>32</c:v>
                </c:pt>
                <c:pt idx="156">
                  <c:v>22</c:v>
                </c:pt>
                <c:pt idx="157">
                  <c:v>58</c:v>
                </c:pt>
                <c:pt idx="158">
                  <c:v>88</c:v>
                </c:pt>
                <c:pt idx="159">
                  <c:v>81</c:v>
                </c:pt>
                <c:pt idx="160">
                  <c:v>76</c:v>
                </c:pt>
                <c:pt idx="161">
                  <c:v>78</c:v>
                </c:pt>
                <c:pt idx="162">
                  <c:v>74</c:v>
                </c:pt>
                <c:pt idx="163">
                  <c:v>45</c:v>
                </c:pt>
                <c:pt idx="164">
                  <c:v>180</c:v>
                </c:pt>
                <c:pt idx="165">
                  <c:v>199</c:v>
                </c:pt>
                <c:pt idx="166">
                  <c:v>187</c:v>
                </c:pt>
                <c:pt idx="167">
                  <c:v>205</c:v>
                </c:pt>
                <c:pt idx="168">
                  <c:v>252</c:v>
                </c:pt>
                <c:pt idx="169">
                  <c:v>130</c:v>
                </c:pt>
                <c:pt idx="170">
                  <c:v>112</c:v>
                </c:pt>
                <c:pt idx="171">
                  <c:v>327</c:v>
                </c:pt>
                <c:pt idx="172">
                  <c:v>331</c:v>
                </c:pt>
                <c:pt idx="173">
                  <c:v>409</c:v>
                </c:pt>
                <c:pt idx="174">
                  <c:v>351</c:v>
                </c:pt>
                <c:pt idx="175">
                  <c:v>430</c:v>
                </c:pt>
                <c:pt idx="176">
                  <c:v>148</c:v>
                </c:pt>
                <c:pt idx="177">
                  <c:v>207</c:v>
                </c:pt>
                <c:pt idx="178">
                  <c:v>464</c:v>
                </c:pt>
                <c:pt idx="179">
                  <c:v>489</c:v>
                </c:pt>
                <c:pt idx="180">
                  <c:v>397</c:v>
                </c:pt>
                <c:pt idx="181">
                  <c:v>366</c:v>
                </c:pt>
                <c:pt idx="182">
                  <c:v>2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1.865013478276434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6.08.21</c:v>
                </c:pt>
                <c:pt idx="1">
                  <c:v>07.08.21</c:v>
                </c:pt>
                <c:pt idx="2">
                  <c:v>08.08.21</c:v>
                </c:pt>
                <c:pt idx="3">
                  <c:v>09.08.21</c:v>
                </c:pt>
                <c:pt idx="4">
                  <c:v>10.08.21</c:v>
                </c:pt>
                <c:pt idx="5">
                  <c:v>11.08.21</c:v>
                </c:pt>
                <c:pt idx="6">
                  <c:v>12.08.21</c:v>
                </c:pt>
                <c:pt idx="7">
                  <c:v>13.08.21</c:v>
                </c:pt>
                <c:pt idx="8">
                  <c:v>14.08.21</c:v>
                </c:pt>
                <c:pt idx="9">
                  <c:v>15.08.21</c:v>
                </c:pt>
                <c:pt idx="10">
                  <c:v>16.08.21</c:v>
                </c:pt>
                <c:pt idx="11">
                  <c:v>17.08.21</c:v>
                </c:pt>
                <c:pt idx="12">
                  <c:v>18.08.21</c:v>
                </c:pt>
                <c:pt idx="13">
                  <c:v>19.08.21</c:v>
                </c:pt>
                <c:pt idx="14">
                  <c:v>20.08.21</c:v>
                </c:pt>
                <c:pt idx="15">
                  <c:v>21.08.21</c:v>
                </c:pt>
                <c:pt idx="16">
                  <c:v>22.08.21</c:v>
                </c:pt>
                <c:pt idx="17">
                  <c:v>23.08.21</c:v>
                </c:pt>
                <c:pt idx="18">
                  <c:v>24.08.21</c:v>
                </c:pt>
                <c:pt idx="19">
                  <c:v>25.08.21</c:v>
                </c:pt>
                <c:pt idx="20">
                  <c:v>26.08.21</c:v>
                </c:pt>
                <c:pt idx="21">
                  <c:v>27.08.21</c:v>
                </c:pt>
                <c:pt idx="22">
                  <c:v>28.08.21</c:v>
                </c:pt>
                <c:pt idx="23">
                  <c:v>29.08.21</c:v>
                </c:pt>
                <c:pt idx="24">
                  <c:v>30.08.21</c:v>
                </c:pt>
                <c:pt idx="25">
                  <c:v>31.08.21</c:v>
                </c:pt>
                <c:pt idx="26">
                  <c:v>01.09.21</c:v>
                </c:pt>
                <c:pt idx="27">
                  <c:v>02.09.21</c:v>
                </c:pt>
                <c:pt idx="28">
                  <c:v>03.09.21</c:v>
                </c:pt>
                <c:pt idx="29">
                  <c:v>04.09.21</c:v>
                </c:pt>
                <c:pt idx="30">
                  <c:v>05.09.21</c:v>
                </c:pt>
                <c:pt idx="31">
                  <c:v>06.09.21</c:v>
                </c:pt>
                <c:pt idx="32">
                  <c:v>07.09.21</c:v>
                </c:pt>
                <c:pt idx="33">
                  <c:v>08.09.21</c:v>
                </c:pt>
                <c:pt idx="34">
                  <c:v>09.09.21</c:v>
                </c:pt>
                <c:pt idx="35">
                  <c:v>10.09.21</c:v>
                </c:pt>
                <c:pt idx="36">
                  <c:v>11.09.21</c:v>
                </c:pt>
                <c:pt idx="37">
                  <c:v>12.09.21</c:v>
                </c:pt>
                <c:pt idx="38">
                  <c:v>13.09.21</c:v>
                </c:pt>
                <c:pt idx="39">
                  <c:v>14.09.21</c:v>
                </c:pt>
                <c:pt idx="40">
                  <c:v>15.09.21</c:v>
                </c:pt>
                <c:pt idx="41">
                  <c:v>16.09.21</c:v>
                </c:pt>
                <c:pt idx="42">
                  <c:v>17.09.21</c:v>
                </c:pt>
                <c:pt idx="43">
                  <c:v>18.09.21</c:v>
                </c:pt>
                <c:pt idx="44">
                  <c:v>19.09.21</c:v>
                </c:pt>
                <c:pt idx="45">
                  <c:v>20.09.21</c:v>
                </c:pt>
                <c:pt idx="46">
                  <c:v>21.09.21</c:v>
                </c:pt>
                <c:pt idx="47">
                  <c:v>22.09.21</c:v>
                </c:pt>
                <c:pt idx="48">
                  <c:v>23.09.21</c:v>
                </c:pt>
                <c:pt idx="49">
                  <c:v>24.09.21</c:v>
                </c:pt>
                <c:pt idx="50">
                  <c:v>25.09.21</c:v>
                </c:pt>
                <c:pt idx="51">
                  <c:v>26.09.21</c:v>
                </c:pt>
                <c:pt idx="52">
                  <c:v>27.09.21</c:v>
                </c:pt>
                <c:pt idx="53">
                  <c:v>28.09.21</c:v>
                </c:pt>
                <c:pt idx="54">
                  <c:v>29.09.21</c:v>
                </c:pt>
                <c:pt idx="55">
                  <c:v>30.09.21</c:v>
                </c:pt>
                <c:pt idx="56">
                  <c:v>01.10.21</c:v>
                </c:pt>
                <c:pt idx="57">
                  <c:v>02.10.21</c:v>
                </c:pt>
                <c:pt idx="58">
                  <c:v>03.10.21</c:v>
                </c:pt>
                <c:pt idx="59">
                  <c:v>04.10.21</c:v>
                </c:pt>
                <c:pt idx="60">
                  <c:v>05.10.21</c:v>
                </c:pt>
                <c:pt idx="61">
                  <c:v>06.10.21</c:v>
                </c:pt>
                <c:pt idx="62">
                  <c:v>07.10.21</c:v>
                </c:pt>
                <c:pt idx="63">
                  <c:v>08.10.21</c:v>
                </c:pt>
                <c:pt idx="64">
                  <c:v>09.10.21</c:v>
                </c:pt>
                <c:pt idx="65">
                  <c:v>10.10.21</c:v>
                </c:pt>
                <c:pt idx="66">
                  <c:v>11.10.21</c:v>
                </c:pt>
                <c:pt idx="67">
                  <c:v>12.10.21</c:v>
                </c:pt>
                <c:pt idx="68">
                  <c:v>13.10.21</c:v>
                </c:pt>
                <c:pt idx="69">
                  <c:v>14.10.21</c:v>
                </c:pt>
                <c:pt idx="70">
                  <c:v>15.10.21</c:v>
                </c:pt>
                <c:pt idx="71">
                  <c:v>16.10.21</c:v>
                </c:pt>
                <c:pt idx="72">
                  <c:v>17.10.21</c:v>
                </c:pt>
                <c:pt idx="73">
                  <c:v>18.10.21</c:v>
                </c:pt>
                <c:pt idx="74">
                  <c:v>19.10.21</c:v>
                </c:pt>
                <c:pt idx="75">
                  <c:v>20.10.21</c:v>
                </c:pt>
                <c:pt idx="76">
                  <c:v>21.10.21</c:v>
                </c:pt>
                <c:pt idx="77">
                  <c:v>22.10.21</c:v>
                </c:pt>
                <c:pt idx="78">
                  <c:v>23.10.21</c:v>
                </c:pt>
                <c:pt idx="79">
                  <c:v>24.10.21</c:v>
                </c:pt>
                <c:pt idx="80">
                  <c:v>25.10.21</c:v>
                </c:pt>
                <c:pt idx="81">
                  <c:v>26.10.21</c:v>
                </c:pt>
                <c:pt idx="82">
                  <c:v>27.10.21</c:v>
                </c:pt>
                <c:pt idx="83">
                  <c:v>28.10.21</c:v>
                </c:pt>
                <c:pt idx="84">
                  <c:v>29.10.21</c:v>
                </c:pt>
                <c:pt idx="85">
                  <c:v>30.10.21</c:v>
                </c:pt>
                <c:pt idx="86">
                  <c:v>31.10.21</c:v>
                </c:pt>
                <c:pt idx="87">
                  <c:v>01.11.21</c:v>
                </c:pt>
                <c:pt idx="88">
                  <c:v>02.11.21</c:v>
                </c:pt>
                <c:pt idx="89">
                  <c:v>03.11.21</c:v>
                </c:pt>
                <c:pt idx="90">
                  <c:v>04.11.21</c:v>
                </c:pt>
                <c:pt idx="91">
                  <c:v>05.11.21</c:v>
                </c:pt>
                <c:pt idx="92">
                  <c:v>06.11.21</c:v>
                </c:pt>
                <c:pt idx="93">
                  <c:v>07.11.21</c:v>
                </c:pt>
                <c:pt idx="94">
                  <c:v>08.11.21</c:v>
                </c:pt>
                <c:pt idx="95">
                  <c:v>09.11.21</c:v>
                </c:pt>
                <c:pt idx="96">
                  <c:v>10.11.21</c:v>
                </c:pt>
                <c:pt idx="97">
                  <c:v>11.11.21</c:v>
                </c:pt>
                <c:pt idx="98">
                  <c:v>12.11.21</c:v>
                </c:pt>
                <c:pt idx="99">
                  <c:v>13.11.21</c:v>
                </c:pt>
                <c:pt idx="100">
                  <c:v>14.11.21</c:v>
                </c:pt>
                <c:pt idx="101">
                  <c:v>15.11.21</c:v>
                </c:pt>
                <c:pt idx="102">
                  <c:v>16.11.21</c:v>
                </c:pt>
                <c:pt idx="103">
                  <c:v>17.11.21</c:v>
                </c:pt>
                <c:pt idx="104">
                  <c:v>18.11.21</c:v>
                </c:pt>
                <c:pt idx="105">
                  <c:v>19.11.21</c:v>
                </c:pt>
                <c:pt idx="106">
                  <c:v>20.11.21</c:v>
                </c:pt>
                <c:pt idx="107">
                  <c:v>21.11.21</c:v>
                </c:pt>
                <c:pt idx="108">
                  <c:v>22.11.21</c:v>
                </c:pt>
                <c:pt idx="109">
                  <c:v>23.11.21</c:v>
                </c:pt>
                <c:pt idx="110">
                  <c:v>24.11.21</c:v>
                </c:pt>
                <c:pt idx="111">
                  <c:v>25.11.21</c:v>
                </c:pt>
                <c:pt idx="112">
                  <c:v>26.11.21</c:v>
                </c:pt>
                <c:pt idx="113">
                  <c:v>27.11.21</c:v>
                </c:pt>
                <c:pt idx="114">
                  <c:v>28.11.21</c:v>
                </c:pt>
                <c:pt idx="115">
                  <c:v>29.11.21</c:v>
                </c:pt>
                <c:pt idx="116">
                  <c:v>30.11.21</c:v>
                </c:pt>
                <c:pt idx="117">
                  <c:v>01.12.21</c:v>
                </c:pt>
                <c:pt idx="118">
                  <c:v>02.12.21</c:v>
                </c:pt>
                <c:pt idx="119">
                  <c:v>03.12.21</c:v>
                </c:pt>
                <c:pt idx="120">
                  <c:v>04.12.21</c:v>
                </c:pt>
                <c:pt idx="121">
                  <c:v>05.12.21</c:v>
                </c:pt>
                <c:pt idx="122">
                  <c:v>06.12.21</c:v>
                </c:pt>
                <c:pt idx="123">
                  <c:v>07.12.21</c:v>
                </c:pt>
                <c:pt idx="124">
                  <c:v>08.12.21</c:v>
                </c:pt>
                <c:pt idx="125">
                  <c:v>09.12.21</c:v>
                </c:pt>
                <c:pt idx="126">
                  <c:v>10.12.21</c:v>
                </c:pt>
                <c:pt idx="127">
                  <c:v>11.12.21</c:v>
                </c:pt>
                <c:pt idx="128">
                  <c:v>12.12.21</c:v>
                </c:pt>
                <c:pt idx="129">
                  <c:v>13.12.21</c:v>
                </c:pt>
                <c:pt idx="130">
                  <c:v>14.12.21</c:v>
                </c:pt>
                <c:pt idx="131">
                  <c:v>15.12.21</c:v>
                </c:pt>
                <c:pt idx="132">
                  <c:v>16.12.21</c:v>
                </c:pt>
                <c:pt idx="133">
                  <c:v>17.12.21</c:v>
                </c:pt>
                <c:pt idx="134">
                  <c:v>18.12.21</c:v>
                </c:pt>
                <c:pt idx="135">
                  <c:v>19.12.21</c:v>
                </c:pt>
                <c:pt idx="136">
                  <c:v>20.12.21</c:v>
                </c:pt>
                <c:pt idx="137">
                  <c:v>21.12.21</c:v>
                </c:pt>
                <c:pt idx="138">
                  <c:v>22.12.21</c:v>
                </c:pt>
                <c:pt idx="139">
                  <c:v>23.12.21</c:v>
                </c:pt>
                <c:pt idx="140">
                  <c:v>24.12.21</c:v>
                </c:pt>
                <c:pt idx="141">
                  <c:v>25.12.21</c:v>
                </c:pt>
                <c:pt idx="142">
                  <c:v>26.12.21</c:v>
                </c:pt>
                <c:pt idx="143">
                  <c:v>27.12.21</c:v>
                </c:pt>
                <c:pt idx="144">
                  <c:v>28.12.21</c:v>
                </c:pt>
                <c:pt idx="145">
                  <c:v>29.12.21</c:v>
                </c:pt>
                <c:pt idx="146">
                  <c:v>30.12.21</c:v>
                </c:pt>
                <c:pt idx="147">
                  <c:v>31.12.21</c:v>
                </c:pt>
                <c:pt idx="148">
                  <c:v>01.01.22</c:v>
                </c:pt>
                <c:pt idx="149">
                  <c:v>02.01.22</c:v>
                </c:pt>
                <c:pt idx="150">
                  <c:v>03.01.22</c:v>
                </c:pt>
                <c:pt idx="151">
                  <c:v>04.01.22</c:v>
                </c:pt>
                <c:pt idx="152">
                  <c:v>05.01.22</c:v>
                </c:pt>
                <c:pt idx="153">
                  <c:v>06.01.22</c:v>
                </c:pt>
                <c:pt idx="154">
                  <c:v>07.01.22</c:v>
                </c:pt>
                <c:pt idx="155">
                  <c:v>08.01.22</c:v>
                </c:pt>
                <c:pt idx="156">
                  <c:v>09.01.22</c:v>
                </c:pt>
                <c:pt idx="157">
                  <c:v>10.01.22</c:v>
                </c:pt>
                <c:pt idx="158">
                  <c:v>11.01.22</c:v>
                </c:pt>
                <c:pt idx="159">
                  <c:v>12.01.22</c:v>
                </c:pt>
                <c:pt idx="160">
                  <c:v>13.01.22</c:v>
                </c:pt>
                <c:pt idx="161">
                  <c:v>14.01.22</c:v>
                </c:pt>
                <c:pt idx="162">
                  <c:v>15.01.22</c:v>
                </c:pt>
                <c:pt idx="163">
                  <c:v>16.01.22</c:v>
                </c:pt>
                <c:pt idx="164">
                  <c:v>17.01.22</c:v>
                </c:pt>
                <c:pt idx="165">
                  <c:v>18.01.22</c:v>
                </c:pt>
                <c:pt idx="166">
                  <c:v>19.01.22</c:v>
                </c:pt>
                <c:pt idx="167">
                  <c:v>20.01.22</c:v>
                </c:pt>
                <c:pt idx="168">
                  <c:v>21.01.22</c:v>
                </c:pt>
                <c:pt idx="169">
                  <c:v>22.01.22</c:v>
                </c:pt>
                <c:pt idx="170">
                  <c:v>23.01.22</c:v>
                </c:pt>
                <c:pt idx="171">
                  <c:v>24.01.22</c:v>
                </c:pt>
                <c:pt idx="172">
                  <c:v>25.01.22</c:v>
                </c:pt>
                <c:pt idx="173">
                  <c:v>26.01.22</c:v>
                </c:pt>
                <c:pt idx="174">
                  <c:v>27.01.22</c:v>
                </c:pt>
                <c:pt idx="175">
                  <c:v>28.01.22</c:v>
                </c:pt>
                <c:pt idx="176">
                  <c:v>29.01.22</c:v>
                </c:pt>
                <c:pt idx="177">
                  <c:v>30.01.22</c:v>
                </c:pt>
                <c:pt idx="178">
                  <c:v>31.01.22</c:v>
                </c:pt>
                <c:pt idx="179">
                  <c:v>01.02.22</c:v>
                </c:pt>
                <c:pt idx="180">
                  <c:v>02.02.22</c:v>
                </c:pt>
                <c:pt idx="181">
                  <c:v>03.02.22</c:v>
                </c:pt>
                <c:pt idx="182">
                  <c:v>04.02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3</c:v>
                </c:pt>
                <c:pt idx="1">
                  <c:v>1</c:v>
                </c:pt>
                <c:pt idx="2">
                  <c:v>0</c:v>
                </c:pt>
                <c:pt idx="3">
                  <c:v>7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6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0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1</c:v>
                </c:pt>
                <c:pt idx="18">
                  <c:v>3</c:v>
                </c:pt>
                <c:pt idx="19">
                  <c:v>5</c:v>
                </c:pt>
                <c:pt idx="20">
                  <c:v>2</c:v>
                </c:pt>
                <c:pt idx="21">
                  <c:v>2</c:v>
                </c:pt>
                <c:pt idx="22">
                  <c:v>0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5</c:v>
                </c:pt>
                <c:pt idx="30">
                  <c:v>1</c:v>
                </c:pt>
                <c:pt idx="31">
                  <c:v>5</c:v>
                </c:pt>
                <c:pt idx="32">
                  <c:v>4</c:v>
                </c:pt>
                <c:pt idx="33">
                  <c:v>1</c:v>
                </c:pt>
                <c:pt idx="34">
                  <c:v>3</c:v>
                </c:pt>
                <c:pt idx="35">
                  <c:v>2</c:v>
                </c:pt>
                <c:pt idx="36">
                  <c:v>0</c:v>
                </c:pt>
                <c:pt idx="37">
                  <c:v>3</c:v>
                </c:pt>
                <c:pt idx="38">
                  <c:v>2</c:v>
                </c:pt>
                <c:pt idx="39">
                  <c:v>3</c:v>
                </c:pt>
                <c:pt idx="40">
                  <c:v>5</c:v>
                </c:pt>
                <c:pt idx="41">
                  <c:v>7</c:v>
                </c:pt>
                <c:pt idx="42">
                  <c:v>4</c:v>
                </c:pt>
                <c:pt idx="43">
                  <c:v>2</c:v>
                </c:pt>
                <c:pt idx="44">
                  <c:v>5</c:v>
                </c:pt>
                <c:pt idx="45">
                  <c:v>8</c:v>
                </c:pt>
                <c:pt idx="46">
                  <c:v>9</c:v>
                </c:pt>
                <c:pt idx="47">
                  <c:v>8</c:v>
                </c:pt>
                <c:pt idx="48">
                  <c:v>5</c:v>
                </c:pt>
                <c:pt idx="49">
                  <c:v>4</c:v>
                </c:pt>
                <c:pt idx="50">
                  <c:v>4</c:v>
                </c:pt>
                <c:pt idx="51">
                  <c:v>2</c:v>
                </c:pt>
                <c:pt idx="52">
                  <c:v>8</c:v>
                </c:pt>
                <c:pt idx="53">
                  <c:v>6</c:v>
                </c:pt>
                <c:pt idx="54">
                  <c:v>8</c:v>
                </c:pt>
                <c:pt idx="55">
                  <c:v>12</c:v>
                </c:pt>
                <c:pt idx="56">
                  <c:v>8</c:v>
                </c:pt>
                <c:pt idx="57">
                  <c:v>4</c:v>
                </c:pt>
                <c:pt idx="58">
                  <c:v>7</c:v>
                </c:pt>
                <c:pt idx="59">
                  <c:v>9</c:v>
                </c:pt>
                <c:pt idx="60">
                  <c:v>12</c:v>
                </c:pt>
                <c:pt idx="61">
                  <c:v>13</c:v>
                </c:pt>
                <c:pt idx="62">
                  <c:v>15</c:v>
                </c:pt>
                <c:pt idx="63">
                  <c:v>8</c:v>
                </c:pt>
                <c:pt idx="64">
                  <c:v>7</c:v>
                </c:pt>
                <c:pt idx="65">
                  <c:v>5</c:v>
                </c:pt>
                <c:pt idx="66">
                  <c:v>19</c:v>
                </c:pt>
                <c:pt idx="67">
                  <c:v>31</c:v>
                </c:pt>
                <c:pt idx="68">
                  <c:v>18</c:v>
                </c:pt>
                <c:pt idx="69">
                  <c:v>16</c:v>
                </c:pt>
                <c:pt idx="70">
                  <c:v>14</c:v>
                </c:pt>
                <c:pt idx="71">
                  <c:v>9</c:v>
                </c:pt>
                <c:pt idx="72">
                  <c:v>13</c:v>
                </c:pt>
                <c:pt idx="73">
                  <c:v>38</c:v>
                </c:pt>
                <c:pt idx="74">
                  <c:v>53</c:v>
                </c:pt>
                <c:pt idx="75">
                  <c:v>48</c:v>
                </c:pt>
                <c:pt idx="76">
                  <c:v>53</c:v>
                </c:pt>
                <c:pt idx="77">
                  <c:v>42</c:v>
                </c:pt>
                <c:pt idx="78">
                  <c:v>27</c:v>
                </c:pt>
                <c:pt idx="79">
                  <c:v>20</c:v>
                </c:pt>
                <c:pt idx="80">
                  <c:v>76</c:v>
                </c:pt>
                <c:pt idx="81">
                  <c:v>81</c:v>
                </c:pt>
                <c:pt idx="82">
                  <c:v>64</c:v>
                </c:pt>
                <c:pt idx="83">
                  <c:v>38</c:v>
                </c:pt>
                <c:pt idx="84">
                  <c:v>79</c:v>
                </c:pt>
                <c:pt idx="85">
                  <c:v>52</c:v>
                </c:pt>
                <c:pt idx="86">
                  <c:v>40</c:v>
                </c:pt>
                <c:pt idx="87">
                  <c:v>130</c:v>
                </c:pt>
                <c:pt idx="88">
                  <c:v>128</c:v>
                </c:pt>
                <c:pt idx="89">
                  <c:v>102</c:v>
                </c:pt>
                <c:pt idx="90">
                  <c:v>107</c:v>
                </c:pt>
                <c:pt idx="91">
                  <c:v>127</c:v>
                </c:pt>
                <c:pt idx="92">
                  <c:v>53</c:v>
                </c:pt>
                <c:pt idx="93">
                  <c:v>37</c:v>
                </c:pt>
                <c:pt idx="94">
                  <c:v>127</c:v>
                </c:pt>
                <c:pt idx="95">
                  <c:v>138</c:v>
                </c:pt>
                <c:pt idx="96">
                  <c:v>140</c:v>
                </c:pt>
                <c:pt idx="97">
                  <c:v>113</c:v>
                </c:pt>
                <c:pt idx="98">
                  <c:v>158</c:v>
                </c:pt>
                <c:pt idx="99">
                  <c:v>94</c:v>
                </c:pt>
                <c:pt idx="100">
                  <c:v>49</c:v>
                </c:pt>
                <c:pt idx="101">
                  <c:v>156</c:v>
                </c:pt>
                <c:pt idx="102">
                  <c:v>192</c:v>
                </c:pt>
                <c:pt idx="103">
                  <c:v>140</c:v>
                </c:pt>
                <c:pt idx="104">
                  <c:v>157</c:v>
                </c:pt>
                <c:pt idx="105">
                  <c:v>239</c:v>
                </c:pt>
                <c:pt idx="106">
                  <c:v>118</c:v>
                </c:pt>
                <c:pt idx="107">
                  <c:v>88</c:v>
                </c:pt>
                <c:pt idx="108">
                  <c:v>197</c:v>
                </c:pt>
                <c:pt idx="109">
                  <c:v>203</c:v>
                </c:pt>
                <c:pt idx="110">
                  <c:v>170</c:v>
                </c:pt>
                <c:pt idx="111">
                  <c:v>246</c:v>
                </c:pt>
                <c:pt idx="112">
                  <c:v>141</c:v>
                </c:pt>
                <c:pt idx="113">
                  <c:v>107</c:v>
                </c:pt>
                <c:pt idx="114">
                  <c:v>81</c:v>
                </c:pt>
                <c:pt idx="115">
                  <c:v>199</c:v>
                </c:pt>
                <c:pt idx="116">
                  <c:v>178</c:v>
                </c:pt>
                <c:pt idx="117">
                  <c:v>157</c:v>
                </c:pt>
                <c:pt idx="118">
                  <c:v>124</c:v>
                </c:pt>
                <c:pt idx="119">
                  <c:v>152</c:v>
                </c:pt>
                <c:pt idx="120">
                  <c:v>94</c:v>
                </c:pt>
                <c:pt idx="121">
                  <c:v>64</c:v>
                </c:pt>
                <c:pt idx="122">
                  <c:v>187</c:v>
                </c:pt>
                <c:pt idx="123">
                  <c:v>157</c:v>
                </c:pt>
                <c:pt idx="124">
                  <c:v>128</c:v>
                </c:pt>
                <c:pt idx="125">
                  <c:v>107</c:v>
                </c:pt>
                <c:pt idx="126">
                  <c:v>88</c:v>
                </c:pt>
                <c:pt idx="127">
                  <c:v>74</c:v>
                </c:pt>
                <c:pt idx="128">
                  <c:v>59</c:v>
                </c:pt>
                <c:pt idx="129">
                  <c:v>114</c:v>
                </c:pt>
                <c:pt idx="130">
                  <c:v>164</c:v>
                </c:pt>
                <c:pt idx="131">
                  <c:v>89</c:v>
                </c:pt>
                <c:pt idx="132">
                  <c:v>86</c:v>
                </c:pt>
                <c:pt idx="133">
                  <c:v>91</c:v>
                </c:pt>
                <c:pt idx="134">
                  <c:v>58</c:v>
                </c:pt>
                <c:pt idx="135">
                  <c:v>41</c:v>
                </c:pt>
                <c:pt idx="136">
                  <c:v>99</c:v>
                </c:pt>
                <c:pt idx="137">
                  <c:v>90</c:v>
                </c:pt>
                <c:pt idx="138">
                  <c:v>43</c:v>
                </c:pt>
                <c:pt idx="139">
                  <c:v>66</c:v>
                </c:pt>
                <c:pt idx="140">
                  <c:v>20</c:v>
                </c:pt>
                <c:pt idx="141">
                  <c:v>12</c:v>
                </c:pt>
                <c:pt idx="142">
                  <c:v>21</c:v>
                </c:pt>
                <c:pt idx="143">
                  <c:v>67</c:v>
                </c:pt>
                <c:pt idx="144">
                  <c:v>91</c:v>
                </c:pt>
                <c:pt idx="145">
                  <c:v>59</c:v>
                </c:pt>
                <c:pt idx="146">
                  <c:v>59</c:v>
                </c:pt>
                <c:pt idx="147">
                  <c:v>73</c:v>
                </c:pt>
                <c:pt idx="148">
                  <c:v>12</c:v>
                </c:pt>
                <c:pt idx="149">
                  <c:v>21</c:v>
                </c:pt>
                <c:pt idx="150">
                  <c:v>90</c:v>
                </c:pt>
                <c:pt idx="151">
                  <c:v>85</c:v>
                </c:pt>
                <c:pt idx="152">
                  <c:v>68</c:v>
                </c:pt>
                <c:pt idx="153">
                  <c:v>66</c:v>
                </c:pt>
                <c:pt idx="154">
                  <c:v>63</c:v>
                </c:pt>
                <c:pt idx="155">
                  <c:v>30</c:v>
                </c:pt>
                <c:pt idx="156">
                  <c:v>27</c:v>
                </c:pt>
                <c:pt idx="157">
                  <c:v>78</c:v>
                </c:pt>
                <c:pt idx="158">
                  <c:v>105</c:v>
                </c:pt>
                <c:pt idx="159">
                  <c:v>87</c:v>
                </c:pt>
                <c:pt idx="160">
                  <c:v>72</c:v>
                </c:pt>
                <c:pt idx="161">
                  <c:v>90</c:v>
                </c:pt>
                <c:pt idx="162">
                  <c:v>56</c:v>
                </c:pt>
                <c:pt idx="163">
                  <c:v>55</c:v>
                </c:pt>
                <c:pt idx="164">
                  <c:v>180</c:v>
                </c:pt>
                <c:pt idx="165">
                  <c:v>190</c:v>
                </c:pt>
                <c:pt idx="166">
                  <c:v>215</c:v>
                </c:pt>
                <c:pt idx="167">
                  <c:v>217</c:v>
                </c:pt>
                <c:pt idx="168">
                  <c:v>206</c:v>
                </c:pt>
                <c:pt idx="169">
                  <c:v>145</c:v>
                </c:pt>
                <c:pt idx="170">
                  <c:v>111</c:v>
                </c:pt>
                <c:pt idx="171">
                  <c:v>275</c:v>
                </c:pt>
                <c:pt idx="172">
                  <c:v>310</c:v>
                </c:pt>
                <c:pt idx="173">
                  <c:v>386</c:v>
                </c:pt>
                <c:pt idx="174">
                  <c:v>303</c:v>
                </c:pt>
                <c:pt idx="175">
                  <c:v>399</c:v>
                </c:pt>
                <c:pt idx="176">
                  <c:v>149</c:v>
                </c:pt>
                <c:pt idx="177">
                  <c:v>170</c:v>
                </c:pt>
                <c:pt idx="178">
                  <c:v>360</c:v>
                </c:pt>
                <c:pt idx="179">
                  <c:v>471</c:v>
                </c:pt>
                <c:pt idx="180">
                  <c:v>347</c:v>
                </c:pt>
                <c:pt idx="181">
                  <c:v>345</c:v>
                </c:pt>
                <c:pt idx="182">
                  <c:v>2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5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8987323987963556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06.08.21</c:v>
                </c:pt>
                <c:pt idx="1">
                  <c:v>07.08.21</c:v>
                </c:pt>
                <c:pt idx="2">
                  <c:v>08.08.21</c:v>
                </c:pt>
                <c:pt idx="3">
                  <c:v>09.08.21</c:v>
                </c:pt>
                <c:pt idx="4">
                  <c:v>10.08.21</c:v>
                </c:pt>
                <c:pt idx="5">
                  <c:v>11.08.21</c:v>
                </c:pt>
                <c:pt idx="6">
                  <c:v>12.08.21</c:v>
                </c:pt>
                <c:pt idx="7">
                  <c:v>13.08.21</c:v>
                </c:pt>
                <c:pt idx="8">
                  <c:v>14.08.21</c:v>
                </c:pt>
                <c:pt idx="9">
                  <c:v>15.08.21</c:v>
                </c:pt>
                <c:pt idx="10">
                  <c:v>16.08.21</c:v>
                </c:pt>
                <c:pt idx="11">
                  <c:v>17.08.21</c:v>
                </c:pt>
                <c:pt idx="12">
                  <c:v>18.08.21</c:v>
                </c:pt>
                <c:pt idx="13">
                  <c:v>19.08.21</c:v>
                </c:pt>
                <c:pt idx="14">
                  <c:v>20.08.21</c:v>
                </c:pt>
                <c:pt idx="15">
                  <c:v>21.08.21</c:v>
                </c:pt>
                <c:pt idx="16">
                  <c:v>22.08.21</c:v>
                </c:pt>
                <c:pt idx="17">
                  <c:v>23.08.21</c:v>
                </c:pt>
                <c:pt idx="18">
                  <c:v>24.08.21</c:v>
                </c:pt>
                <c:pt idx="19">
                  <c:v>25.08.21</c:v>
                </c:pt>
                <c:pt idx="20">
                  <c:v>26.08.21</c:v>
                </c:pt>
                <c:pt idx="21">
                  <c:v>27.08.21</c:v>
                </c:pt>
                <c:pt idx="22">
                  <c:v>28.08.21</c:v>
                </c:pt>
                <c:pt idx="23">
                  <c:v>29.08.21</c:v>
                </c:pt>
                <c:pt idx="24">
                  <c:v>30.08.21</c:v>
                </c:pt>
                <c:pt idx="25">
                  <c:v>31.08.21</c:v>
                </c:pt>
                <c:pt idx="26">
                  <c:v>01.09.21</c:v>
                </c:pt>
                <c:pt idx="27">
                  <c:v>02.09.21</c:v>
                </c:pt>
                <c:pt idx="28">
                  <c:v>03.09.21</c:v>
                </c:pt>
                <c:pt idx="29">
                  <c:v>04.09.21</c:v>
                </c:pt>
                <c:pt idx="30">
                  <c:v>05.09.21</c:v>
                </c:pt>
                <c:pt idx="31">
                  <c:v>06.09.21</c:v>
                </c:pt>
                <c:pt idx="32">
                  <c:v>07.09.21</c:v>
                </c:pt>
                <c:pt idx="33">
                  <c:v>08.09.21</c:v>
                </c:pt>
                <c:pt idx="34">
                  <c:v>09.09.21</c:v>
                </c:pt>
                <c:pt idx="35">
                  <c:v>10.09.21</c:v>
                </c:pt>
                <c:pt idx="36">
                  <c:v>11.09.21</c:v>
                </c:pt>
                <c:pt idx="37">
                  <c:v>12.09.21</c:v>
                </c:pt>
                <c:pt idx="38">
                  <c:v>13.09.21</c:v>
                </c:pt>
                <c:pt idx="39">
                  <c:v>14.09.21</c:v>
                </c:pt>
                <c:pt idx="40">
                  <c:v>15.09.21</c:v>
                </c:pt>
                <c:pt idx="41">
                  <c:v>16.09.21</c:v>
                </c:pt>
                <c:pt idx="42">
                  <c:v>17.09.21</c:v>
                </c:pt>
                <c:pt idx="43">
                  <c:v>18.09.21</c:v>
                </c:pt>
                <c:pt idx="44">
                  <c:v>19.09.21</c:v>
                </c:pt>
                <c:pt idx="45">
                  <c:v>20.09.21</c:v>
                </c:pt>
                <c:pt idx="46">
                  <c:v>21.09.21</c:v>
                </c:pt>
                <c:pt idx="47">
                  <c:v>22.09.21</c:v>
                </c:pt>
                <c:pt idx="48">
                  <c:v>23.09.21</c:v>
                </c:pt>
                <c:pt idx="49">
                  <c:v>24.09.21</c:v>
                </c:pt>
                <c:pt idx="50">
                  <c:v>25.09.21</c:v>
                </c:pt>
                <c:pt idx="51">
                  <c:v>26.09.21</c:v>
                </c:pt>
                <c:pt idx="52">
                  <c:v>27.09.21</c:v>
                </c:pt>
                <c:pt idx="53">
                  <c:v>28.09.21</c:v>
                </c:pt>
                <c:pt idx="54">
                  <c:v>29.09.21</c:v>
                </c:pt>
                <c:pt idx="55">
                  <c:v>30.09.21</c:v>
                </c:pt>
                <c:pt idx="56">
                  <c:v>01.10.21</c:v>
                </c:pt>
                <c:pt idx="57">
                  <c:v>02.10.21</c:v>
                </c:pt>
                <c:pt idx="58">
                  <c:v>03.10.21</c:v>
                </c:pt>
                <c:pt idx="59">
                  <c:v>04.10.21</c:v>
                </c:pt>
                <c:pt idx="60">
                  <c:v>05.10.21</c:v>
                </c:pt>
                <c:pt idx="61">
                  <c:v>06.10.21</c:v>
                </c:pt>
                <c:pt idx="62">
                  <c:v>07.10.21</c:v>
                </c:pt>
                <c:pt idx="63">
                  <c:v>08.10.21</c:v>
                </c:pt>
                <c:pt idx="64">
                  <c:v>09.10.21</c:v>
                </c:pt>
                <c:pt idx="65">
                  <c:v>10.10.21</c:v>
                </c:pt>
                <c:pt idx="66">
                  <c:v>11.10.21</c:v>
                </c:pt>
                <c:pt idx="67">
                  <c:v>12.10.21</c:v>
                </c:pt>
                <c:pt idx="68">
                  <c:v>13.10.21</c:v>
                </c:pt>
                <c:pt idx="69">
                  <c:v>14.10.21</c:v>
                </c:pt>
                <c:pt idx="70">
                  <c:v>15.10.21</c:v>
                </c:pt>
                <c:pt idx="71">
                  <c:v>16.10.21</c:v>
                </c:pt>
                <c:pt idx="72">
                  <c:v>17.10.21</c:v>
                </c:pt>
                <c:pt idx="73">
                  <c:v>18.10.21</c:v>
                </c:pt>
                <c:pt idx="74">
                  <c:v>19.10.21</c:v>
                </c:pt>
                <c:pt idx="75">
                  <c:v>20.10.21</c:v>
                </c:pt>
                <c:pt idx="76">
                  <c:v>21.10.21</c:v>
                </c:pt>
                <c:pt idx="77">
                  <c:v>22.10.21</c:v>
                </c:pt>
                <c:pt idx="78">
                  <c:v>23.10.21</c:v>
                </c:pt>
                <c:pt idx="79">
                  <c:v>24.10.21</c:v>
                </c:pt>
                <c:pt idx="80">
                  <c:v>25.10.21</c:v>
                </c:pt>
                <c:pt idx="81">
                  <c:v>26.10.21</c:v>
                </c:pt>
                <c:pt idx="82">
                  <c:v>27.10.21</c:v>
                </c:pt>
                <c:pt idx="83">
                  <c:v>28.10.21</c:v>
                </c:pt>
                <c:pt idx="84">
                  <c:v>29.10.21</c:v>
                </c:pt>
                <c:pt idx="85">
                  <c:v>30.10.21</c:v>
                </c:pt>
                <c:pt idx="86">
                  <c:v>31.10.21</c:v>
                </c:pt>
                <c:pt idx="87">
                  <c:v>01.11.21</c:v>
                </c:pt>
                <c:pt idx="88">
                  <c:v>02.11.21</c:v>
                </c:pt>
                <c:pt idx="89">
                  <c:v>03.11.21</c:v>
                </c:pt>
                <c:pt idx="90">
                  <c:v>04.11.21</c:v>
                </c:pt>
                <c:pt idx="91">
                  <c:v>05.11.21</c:v>
                </c:pt>
                <c:pt idx="92">
                  <c:v>06.11.21</c:v>
                </c:pt>
                <c:pt idx="93">
                  <c:v>07.11.21</c:v>
                </c:pt>
                <c:pt idx="94">
                  <c:v>08.11.21</c:v>
                </c:pt>
                <c:pt idx="95">
                  <c:v>09.11.21</c:v>
                </c:pt>
                <c:pt idx="96">
                  <c:v>10.11.21</c:v>
                </c:pt>
                <c:pt idx="97">
                  <c:v>11.11.21</c:v>
                </c:pt>
                <c:pt idx="98">
                  <c:v>12.11.21</c:v>
                </c:pt>
                <c:pt idx="99">
                  <c:v>13.11.21</c:v>
                </c:pt>
                <c:pt idx="100">
                  <c:v>14.11.21</c:v>
                </c:pt>
                <c:pt idx="101">
                  <c:v>15.11.21</c:v>
                </c:pt>
                <c:pt idx="102">
                  <c:v>16.11.21</c:v>
                </c:pt>
                <c:pt idx="103">
                  <c:v>17.11.21</c:v>
                </c:pt>
                <c:pt idx="104">
                  <c:v>18.11.21</c:v>
                </c:pt>
                <c:pt idx="105">
                  <c:v>19.11.21</c:v>
                </c:pt>
                <c:pt idx="106">
                  <c:v>20.11.21</c:v>
                </c:pt>
                <c:pt idx="107">
                  <c:v>21.11.21</c:v>
                </c:pt>
                <c:pt idx="108">
                  <c:v>22.11.21</c:v>
                </c:pt>
                <c:pt idx="109">
                  <c:v>23.11.21</c:v>
                </c:pt>
                <c:pt idx="110">
                  <c:v>24.11.21</c:v>
                </c:pt>
                <c:pt idx="111">
                  <c:v>25.11.21</c:v>
                </c:pt>
                <c:pt idx="112">
                  <c:v>26.11.21</c:v>
                </c:pt>
                <c:pt idx="113">
                  <c:v>27.11.21</c:v>
                </c:pt>
                <c:pt idx="114">
                  <c:v>28.11.21</c:v>
                </c:pt>
                <c:pt idx="115">
                  <c:v>29.11.21</c:v>
                </c:pt>
                <c:pt idx="116">
                  <c:v>30.11.21</c:v>
                </c:pt>
                <c:pt idx="117">
                  <c:v>01.12.21</c:v>
                </c:pt>
                <c:pt idx="118">
                  <c:v>02.12.21</c:v>
                </c:pt>
                <c:pt idx="119">
                  <c:v>03.12.21</c:v>
                </c:pt>
                <c:pt idx="120">
                  <c:v>04.12.21</c:v>
                </c:pt>
                <c:pt idx="121">
                  <c:v>05.12.21</c:v>
                </c:pt>
                <c:pt idx="122">
                  <c:v>06.12.21</c:v>
                </c:pt>
                <c:pt idx="123">
                  <c:v>07.12.21</c:v>
                </c:pt>
                <c:pt idx="124">
                  <c:v>08.12.21</c:v>
                </c:pt>
                <c:pt idx="125">
                  <c:v>09.12.21</c:v>
                </c:pt>
                <c:pt idx="126">
                  <c:v>10.12.21</c:v>
                </c:pt>
                <c:pt idx="127">
                  <c:v>11.12.21</c:v>
                </c:pt>
                <c:pt idx="128">
                  <c:v>12.12.21</c:v>
                </c:pt>
                <c:pt idx="129">
                  <c:v>13.12.21</c:v>
                </c:pt>
                <c:pt idx="130">
                  <c:v>14.12.21</c:v>
                </c:pt>
                <c:pt idx="131">
                  <c:v>15.12.21</c:v>
                </c:pt>
                <c:pt idx="132">
                  <c:v>16.12.21</c:v>
                </c:pt>
                <c:pt idx="133">
                  <c:v>17.12.21</c:v>
                </c:pt>
                <c:pt idx="134">
                  <c:v>18.12.21</c:v>
                </c:pt>
                <c:pt idx="135">
                  <c:v>19.12.21</c:v>
                </c:pt>
                <c:pt idx="136">
                  <c:v>20.12.21</c:v>
                </c:pt>
                <c:pt idx="137">
                  <c:v>21.12.21</c:v>
                </c:pt>
                <c:pt idx="138">
                  <c:v>22.12.21</c:v>
                </c:pt>
                <c:pt idx="139">
                  <c:v>23.12.21</c:v>
                </c:pt>
                <c:pt idx="140">
                  <c:v>24.12.21</c:v>
                </c:pt>
                <c:pt idx="141">
                  <c:v>25.12.21</c:v>
                </c:pt>
                <c:pt idx="142">
                  <c:v>26.12.21</c:v>
                </c:pt>
                <c:pt idx="143">
                  <c:v>27.12.21</c:v>
                </c:pt>
                <c:pt idx="144">
                  <c:v>28.12.21</c:v>
                </c:pt>
                <c:pt idx="145">
                  <c:v>29.12.21</c:v>
                </c:pt>
                <c:pt idx="146">
                  <c:v>30.12.21</c:v>
                </c:pt>
                <c:pt idx="147">
                  <c:v>31.12.21</c:v>
                </c:pt>
                <c:pt idx="148">
                  <c:v>01.01.22</c:v>
                </c:pt>
                <c:pt idx="149">
                  <c:v>02.01.22</c:v>
                </c:pt>
                <c:pt idx="150">
                  <c:v>03.01.22</c:v>
                </c:pt>
                <c:pt idx="151">
                  <c:v>04.01.22</c:v>
                </c:pt>
                <c:pt idx="152">
                  <c:v>05.01.22</c:v>
                </c:pt>
                <c:pt idx="153">
                  <c:v>06.01.22</c:v>
                </c:pt>
                <c:pt idx="154">
                  <c:v>07.01.22</c:v>
                </c:pt>
                <c:pt idx="155">
                  <c:v>08.01.22</c:v>
                </c:pt>
                <c:pt idx="156">
                  <c:v>09.01.22</c:v>
                </c:pt>
                <c:pt idx="157">
                  <c:v>10.01.22</c:v>
                </c:pt>
                <c:pt idx="158">
                  <c:v>11.01.22</c:v>
                </c:pt>
                <c:pt idx="159">
                  <c:v>12.01.22</c:v>
                </c:pt>
                <c:pt idx="160">
                  <c:v>13.01.22</c:v>
                </c:pt>
                <c:pt idx="161">
                  <c:v>14.01.22</c:v>
                </c:pt>
                <c:pt idx="162">
                  <c:v>15.01.22</c:v>
                </c:pt>
                <c:pt idx="163">
                  <c:v>16.01.22</c:v>
                </c:pt>
                <c:pt idx="164">
                  <c:v>17.01.22</c:v>
                </c:pt>
                <c:pt idx="165">
                  <c:v>18.01.22</c:v>
                </c:pt>
                <c:pt idx="166">
                  <c:v>19.01.22</c:v>
                </c:pt>
                <c:pt idx="167">
                  <c:v>20.01.22</c:v>
                </c:pt>
                <c:pt idx="168">
                  <c:v>21.01.22</c:v>
                </c:pt>
                <c:pt idx="169">
                  <c:v>22.01.22</c:v>
                </c:pt>
                <c:pt idx="170">
                  <c:v>23.01.22</c:v>
                </c:pt>
                <c:pt idx="171">
                  <c:v>24.01.22</c:v>
                </c:pt>
                <c:pt idx="172">
                  <c:v>25.01.22</c:v>
                </c:pt>
                <c:pt idx="173">
                  <c:v>26.01.22</c:v>
                </c:pt>
                <c:pt idx="174">
                  <c:v>27.01.22</c:v>
                </c:pt>
                <c:pt idx="175">
                  <c:v>28.01.22</c:v>
                </c:pt>
                <c:pt idx="176">
                  <c:v>29.01.22</c:v>
                </c:pt>
                <c:pt idx="177">
                  <c:v>30.01.22</c:v>
                </c:pt>
                <c:pt idx="178">
                  <c:v>31.01.22</c:v>
                </c:pt>
                <c:pt idx="179">
                  <c:v>01.02.22</c:v>
                </c:pt>
                <c:pt idx="180">
                  <c:v>02.02.22</c:v>
                </c:pt>
                <c:pt idx="181">
                  <c:v>03.02.22</c:v>
                </c:pt>
                <c:pt idx="182">
                  <c:v>04.02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44</c:v>
                </c:pt>
                <c:pt idx="1">
                  <c:v>41</c:v>
                </c:pt>
                <c:pt idx="2">
                  <c:v>43</c:v>
                </c:pt>
                <c:pt idx="3">
                  <c:v>43</c:v>
                </c:pt>
                <c:pt idx="4">
                  <c:v>43</c:v>
                </c:pt>
                <c:pt idx="5">
                  <c:v>43</c:v>
                </c:pt>
                <c:pt idx="6">
                  <c:v>44</c:v>
                </c:pt>
                <c:pt idx="7">
                  <c:v>44</c:v>
                </c:pt>
                <c:pt idx="8">
                  <c:v>44</c:v>
                </c:pt>
                <c:pt idx="9">
                  <c:v>44</c:v>
                </c:pt>
                <c:pt idx="10">
                  <c:v>47</c:v>
                </c:pt>
                <c:pt idx="11">
                  <c:v>44</c:v>
                </c:pt>
                <c:pt idx="12">
                  <c:v>41</c:v>
                </c:pt>
                <c:pt idx="13">
                  <c:v>41</c:v>
                </c:pt>
                <c:pt idx="14">
                  <c:v>40</c:v>
                </c:pt>
                <c:pt idx="15">
                  <c:v>39</c:v>
                </c:pt>
                <c:pt idx="16">
                  <c:v>37</c:v>
                </c:pt>
                <c:pt idx="17">
                  <c:v>38</c:v>
                </c:pt>
                <c:pt idx="18">
                  <c:v>37</c:v>
                </c:pt>
                <c:pt idx="19">
                  <c:v>35</c:v>
                </c:pt>
                <c:pt idx="20">
                  <c:v>36</c:v>
                </c:pt>
                <c:pt idx="21">
                  <c:v>36</c:v>
                </c:pt>
                <c:pt idx="22">
                  <c:v>37</c:v>
                </c:pt>
                <c:pt idx="23">
                  <c:v>36</c:v>
                </c:pt>
                <c:pt idx="24">
                  <c:v>34</c:v>
                </c:pt>
                <c:pt idx="25">
                  <c:v>38</c:v>
                </c:pt>
                <c:pt idx="26">
                  <c:v>41</c:v>
                </c:pt>
                <c:pt idx="27">
                  <c:v>42</c:v>
                </c:pt>
                <c:pt idx="28">
                  <c:v>42</c:v>
                </c:pt>
                <c:pt idx="29">
                  <c:v>45</c:v>
                </c:pt>
                <c:pt idx="30">
                  <c:v>46</c:v>
                </c:pt>
                <c:pt idx="31">
                  <c:v>44</c:v>
                </c:pt>
                <c:pt idx="32">
                  <c:v>45</c:v>
                </c:pt>
                <c:pt idx="33">
                  <c:v>44</c:v>
                </c:pt>
                <c:pt idx="34">
                  <c:v>44</c:v>
                </c:pt>
                <c:pt idx="35">
                  <c:v>45</c:v>
                </c:pt>
                <c:pt idx="36">
                  <c:v>48</c:v>
                </c:pt>
                <c:pt idx="37">
                  <c:v>47</c:v>
                </c:pt>
                <c:pt idx="38">
                  <c:v>49</c:v>
                </c:pt>
                <c:pt idx="39">
                  <c:v>48</c:v>
                </c:pt>
                <c:pt idx="40">
                  <c:v>45</c:v>
                </c:pt>
                <c:pt idx="41">
                  <c:v>46</c:v>
                </c:pt>
                <c:pt idx="42">
                  <c:v>46</c:v>
                </c:pt>
                <c:pt idx="43">
                  <c:v>45</c:v>
                </c:pt>
                <c:pt idx="44">
                  <c:v>45</c:v>
                </c:pt>
                <c:pt idx="45">
                  <c:v>43</c:v>
                </c:pt>
                <c:pt idx="46">
                  <c:v>46</c:v>
                </c:pt>
                <c:pt idx="47">
                  <c:v>49</c:v>
                </c:pt>
                <c:pt idx="48">
                  <c:v>49</c:v>
                </c:pt>
                <c:pt idx="49">
                  <c:v>50</c:v>
                </c:pt>
                <c:pt idx="50">
                  <c:v>48</c:v>
                </c:pt>
                <c:pt idx="51">
                  <c:v>48</c:v>
                </c:pt>
                <c:pt idx="52">
                  <c:v>50</c:v>
                </c:pt>
                <c:pt idx="53">
                  <c:v>54</c:v>
                </c:pt>
                <c:pt idx="54">
                  <c:v>57</c:v>
                </c:pt>
                <c:pt idx="55">
                  <c:v>65</c:v>
                </c:pt>
                <c:pt idx="56">
                  <c:v>66</c:v>
                </c:pt>
                <c:pt idx="57">
                  <c:v>70</c:v>
                </c:pt>
                <c:pt idx="58">
                  <c:v>70</c:v>
                </c:pt>
                <c:pt idx="59">
                  <c:v>69</c:v>
                </c:pt>
                <c:pt idx="60">
                  <c:v>68</c:v>
                </c:pt>
                <c:pt idx="61">
                  <c:v>69</c:v>
                </c:pt>
                <c:pt idx="62">
                  <c:v>74</c:v>
                </c:pt>
                <c:pt idx="63">
                  <c:v>77</c:v>
                </c:pt>
                <c:pt idx="64">
                  <c:v>78</c:v>
                </c:pt>
                <c:pt idx="65">
                  <c:v>77</c:v>
                </c:pt>
                <c:pt idx="66">
                  <c:v>71</c:v>
                </c:pt>
                <c:pt idx="67">
                  <c:v>80</c:v>
                </c:pt>
                <c:pt idx="68">
                  <c:v>77</c:v>
                </c:pt>
                <c:pt idx="69">
                  <c:v>80</c:v>
                </c:pt>
                <c:pt idx="70">
                  <c:v>83</c:v>
                </c:pt>
                <c:pt idx="71">
                  <c:v>86</c:v>
                </c:pt>
                <c:pt idx="72">
                  <c:v>92</c:v>
                </c:pt>
                <c:pt idx="73">
                  <c:v>109</c:v>
                </c:pt>
                <c:pt idx="74">
                  <c:v>122</c:v>
                </c:pt>
                <c:pt idx="75">
                  <c:v>130</c:v>
                </c:pt>
                <c:pt idx="76">
                  <c:v>137</c:v>
                </c:pt>
                <c:pt idx="77">
                  <c:v>148</c:v>
                </c:pt>
                <c:pt idx="78">
                  <c:v>161</c:v>
                </c:pt>
                <c:pt idx="79">
                  <c:v>171</c:v>
                </c:pt>
                <c:pt idx="80">
                  <c:v>196</c:v>
                </c:pt>
                <c:pt idx="81">
                  <c:v>203</c:v>
                </c:pt>
                <c:pt idx="82">
                  <c:v>222</c:v>
                </c:pt>
                <c:pt idx="83">
                  <c:v>236</c:v>
                </c:pt>
                <c:pt idx="84">
                  <c:v>266</c:v>
                </c:pt>
                <c:pt idx="85">
                  <c:v>282</c:v>
                </c:pt>
                <c:pt idx="86">
                  <c:v>288</c:v>
                </c:pt>
                <c:pt idx="87">
                  <c:v>327</c:v>
                </c:pt>
                <c:pt idx="88">
                  <c:v>349</c:v>
                </c:pt>
                <c:pt idx="89">
                  <c:v>372</c:v>
                </c:pt>
                <c:pt idx="90">
                  <c:v>386</c:v>
                </c:pt>
                <c:pt idx="91">
                  <c:v>404</c:v>
                </c:pt>
                <c:pt idx="92">
                  <c:v>412</c:v>
                </c:pt>
                <c:pt idx="93">
                  <c:v>420</c:v>
                </c:pt>
                <c:pt idx="94">
                  <c:v>441</c:v>
                </c:pt>
                <c:pt idx="95">
                  <c:v>471</c:v>
                </c:pt>
                <c:pt idx="96">
                  <c:v>488</c:v>
                </c:pt>
                <c:pt idx="97">
                  <c:v>521</c:v>
                </c:pt>
                <c:pt idx="98">
                  <c:v>520</c:v>
                </c:pt>
                <c:pt idx="99">
                  <c:v>555</c:v>
                </c:pt>
                <c:pt idx="100">
                  <c:v>560</c:v>
                </c:pt>
                <c:pt idx="101">
                  <c:v>559</c:v>
                </c:pt>
                <c:pt idx="102">
                  <c:v>585</c:v>
                </c:pt>
                <c:pt idx="103">
                  <c:v>591</c:v>
                </c:pt>
                <c:pt idx="104">
                  <c:v>616</c:v>
                </c:pt>
                <c:pt idx="105">
                  <c:v>658</c:v>
                </c:pt>
                <c:pt idx="106">
                  <c:v>686</c:v>
                </c:pt>
                <c:pt idx="107">
                  <c:v>690</c:v>
                </c:pt>
                <c:pt idx="108">
                  <c:v>686</c:v>
                </c:pt>
                <c:pt idx="109">
                  <c:v>724</c:v>
                </c:pt>
                <c:pt idx="110">
                  <c:v>712</c:v>
                </c:pt>
                <c:pt idx="111">
                  <c:v>728</c:v>
                </c:pt>
                <c:pt idx="112">
                  <c:v>720</c:v>
                </c:pt>
                <c:pt idx="113">
                  <c:v>725</c:v>
                </c:pt>
                <c:pt idx="114">
                  <c:v>740</c:v>
                </c:pt>
                <c:pt idx="115">
                  <c:v>730</c:v>
                </c:pt>
                <c:pt idx="116">
                  <c:v>724</c:v>
                </c:pt>
                <c:pt idx="117">
                  <c:v>739</c:v>
                </c:pt>
                <c:pt idx="118">
                  <c:v>710</c:v>
                </c:pt>
                <c:pt idx="119">
                  <c:v>683</c:v>
                </c:pt>
                <c:pt idx="120">
                  <c:v>677</c:v>
                </c:pt>
                <c:pt idx="121">
                  <c:v>659</c:v>
                </c:pt>
                <c:pt idx="122">
                  <c:v>618</c:v>
                </c:pt>
                <c:pt idx="123">
                  <c:v>598</c:v>
                </c:pt>
                <c:pt idx="124">
                  <c:v>586</c:v>
                </c:pt>
                <c:pt idx="125">
                  <c:v>558</c:v>
                </c:pt>
                <c:pt idx="126">
                  <c:v>537</c:v>
                </c:pt>
                <c:pt idx="127">
                  <c:v>526</c:v>
                </c:pt>
                <c:pt idx="128">
                  <c:v>505</c:v>
                </c:pt>
                <c:pt idx="129">
                  <c:v>474</c:v>
                </c:pt>
                <c:pt idx="130">
                  <c:v>452</c:v>
                </c:pt>
                <c:pt idx="131">
                  <c:v>429</c:v>
                </c:pt>
                <c:pt idx="132">
                  <c:v>401</c:v>
                </c:pt>
                <c:pt idx="133">
                  <c:v>378</c:v>
                </c:pt>
                <c:pt idx="134">
                  <c:v>375</c:v>
                </c:pt>
                <c:pt idx="135">
                  <c:v>373</c:v>
                </c:pt>
                <c:pt idx="136">
                  <c:v>347</c:v>
                </c:pt>
                <c:pt idx="137">
                  <c:v>346</c:v>
                </c:pt>
                <c:pt idx="138">
                  <c:v>332</c:v>
                </c:pt>
                <c:pt idx="139">
                  <c:v>322</c:v>
                </c:pt>
                <c:pt idx="140">
                  <c:v>294</c:v>
                </c:pt>
                <c:pt idx="141">
                  <c:v>291</c:v>
                </c:pt>
                <c:pt idx="142">
                  <c:v>287</c:v>
                </c:pt>
                <c:pt idx="143">
                  <c:v>276</c:v>
                </c:pt>
                <c:pt idx="144">
                  <c:v>282</c:v>
                </c:pt>
                <c:pt idx="145">
                  <c:v>286</c:v>
                </c:pt>
                <c:pt idx="146">
                  <c:v>287</c:v>
                </c:pt>
                <c:pt idx="147">
                  <c:v>282</c:v>
                </c:pt>
                <c:pt idx="148">
                  <c:v>273</c:v>
                </c:pt>
                <c:pt idx="149">
                  <c:v>281</c:v>
                </c:pt>
                <c:pt idx="150">
                  <c:v>280</c:v>
                </c:pt>
                <c:pt idx="151">
                  <c:v>284</c:v>
                </c:pt>
                <c:pt idx="152">
                  <c:v>287</c:v>
                </c:pt>
                <c:pt idx="153">
                  <c:v>296</c:v>
                </c:pt>
                <c:pt idx="154">
                  <c:v>309</c:v>
                </c:pt>
                <c:pt idx="155">
                  <c:v>312</c:v>
                </c:pt>
                <c:pt idx="156">
                  <c:v>318</c:v>
                </c:pt>
                <c:pt idx="157">
                  <c:v>318</c:v>
                </c:pt>
                <c:pt idx="158">
                  <c:v>335</c:v>
                </c:pt>
                <c:pt idx="159">
                  <c:v>385</c:v>
                </c:pt>
                <c:pt idx="160">
                  <c:v>402</c:v>
                </c:pt>
                <c:pt idx="161">
                  <c:v>433</c:v>
                </c:pt>
                <c:pt idx="162">
                  <c:v>451</c:v>
                </c:pt>
                <c:pt idx="163">
                  <c:v>469</c:v>
                </c:pt>
                <c:pt idx="164">
                  <c:v>542</c:v>
                </c:pt>
                <c:pt idx="165">
                  <c:v>609</c:v>
                </c:pt>
                <c:pt idx="166">
                  <c:v>699</c:v>
                </c:pt>
                <c:pt idx="167">
                  <c:v>785</c:v>
                </c:pt>
                <c:pt idx="168">
                  <c:v>794</c:v>
                </c:pt>
                <c:pt idx="169">
                  <c:v>776</c:v>
                </c:pt>
                <c:pt idx="170">
                  <c:v>793</c:v>
                </c:pt>
                <c:pt idx="171">
                  <c:v>889</c:v>
                </c:pt>
                <c:pt idx="172">
                  <c:v>998</c:v>
                </c:pt>
                <c:pt idx="173">
                  <c:v>1118</c:v>
                </c:pt>
                <c:pt idx="174">
                  <c:v>1138</c:v>
                </c:pt>
                <c:pt idx="175">
                  <c:v>1191</c:v>
                </c:pt>
                <c:pt idx="176">
                  <c:v>1136</c:v>
                </c:pt>
                <c:pt idx="177">
                  <c:v>1135</c:v>
                </c:pt>
                <c:pt idx="178">
                  <c:v>1206</c:v>
                </c:pt>
                <c:pt idx="179">
                  <c:v>1349</c:v>
                </c:pt>
                <c:pt idx="180">
                  <c:v>1402</c:v>
                </c:pt>
                <c:pt idx="181">
                  <c:v>1339</c:v>
                </c:pt>
                <c:pt idx="182">
                  <c:v>12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1.7754105636927238E-3"/>
                  <c:y val="9.1782611050075675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06.08.21</c:v>
                </c:pt>
                <c:pt idx="1">
                  <c:v>07.08.21</c:v>
                </c:pt>
                <c:pt idx="2">
                  <c:v>08.08.21</c:v>
                </c:pt>
                <c:pt idx="3">
                  <c:v>09.08.21</c:v>
                </c:pt>
                <c:pt idx="4">
                  <c:v>10.08.21</c:v>
                </c:pt>
                <c:pt idx="5">
                  <c:v>11.08.21</c:v>
                </c:pt>
                <c:pt idx="6">
                  <c:v>12.08.21</c:v>
                </c:pt>
                <c:pt idx="7">
                  <c:v>13.08.21</c:v>
                </c:pt>
                <c:pt idx="8">
                  <c:v>14.08.21</c:v>
                </c:pt>
                <c:pt idx="9">
                  <c:v>15.08.21</c:v>
                </c:pt>
                <c:pt idx="10">
                  <c:v>16.08.21</c:v>
                </c:pt>
                <c:pt idx="11">
                  <c:v>17.08.21</c:v>
                </c:pt>
                <c:pt idx="12">
                  <c:v>18.08.21</c:v>
                </c:pt>
                <c:pt idx="13">
                  <c:v>19.08.21</c:v>
                </c:pt>
                <c:pt idx="14">
                  <c:v>20.08.21</c:v>
                </c:pt>
                <c:pt idx="15">
                  <c:v>21.08.21</c:v>
                </c:pt>
                <c:pt idx="16">
                  <c:v>22.08.21</c:v>
                </c:pt>
                <c:pt idx="17">
                  <c:v>23.08.21</c:v>
                </c:pt>
                <c:pt idx="18">
                  <c:v>24.08.21</c:v>
                </c:pt>
                <c:pt idx="19">
                  <c:v>25.08.21</c:v>
                </c:pt>
                <c:pt idx="20">
                  <c:v>26.08.21</c:v>
                </c:pt>
                <c:pt idx="21">
                  <c:v>27.08.21</c:v>
                </c:pt>
                <c:pt idx="22">
                  <c:v>28.08.21</c:v>
                </c:pt>
                <c:pt idx="23">
                  <c:v>29.08.21</c:v>
                </c:pt>
                <c:pt idx="24">
                  <c:v>30.08.21</c:v>
                </c:pt>
                <c:pt idx="25">
                  <c:v>31.08.21</c:v>
                </c:pt>
                <c:pt idx="26">
                  <c:v>01.09.21</c:v>
                </c:pt>
                <c:pt idx="27">
                  <c:v>02.09.21</c:v>
                </c:pt>
                <c:pt idx="28">
                  <c:v>03.09.21</c:v>
                </c:pt>
                <c:pt idx="29">
                  <c:v>04.09.21</c:v>
                </c:pt>
                <c:pt idx="30">
                  <c:v>05.09.21</c:v>
                </c:pt>
                <c:pt idx="31">
                  <c:v>06.09.21</c:v>
                </c:pt>
                <c:pt idx="32">
                  <c:v>07.09.21</c:v>
                </c:pt>
                <c:pt idx="33">
                  <c:v>08.09.21</c:v>
                </c:pt>
                <c:pt idx="34">
                  <c:v>09.09.21</c:v>
                </c:pt>
                <c:pt idx="35">
                  <c:v>10.09.21</c:v>
                </c:pt>
                <c:pt idx="36">
                  <c:v>11.09.21</c:v>
                </c:pt>
                <c:pt idx="37">
                  <c:v>12.09.21</c:v>
                </c:pt>
                <c:pt idx="38">
                  <c:v>13.09.21</c:v>
                </c:pt>
                <c:pt idx="39">
                  <c:v>14.09.21</c:v>
                </c:pt>
                <c:pt idx="40">
                  <c:v>15.09.21</c:v>
                </c:pt>
                <c:pt idx="41">
                  <c:v>16.09.21</c:v>
                </c:pt>
                <c:pt idx="42">
                  <c:v>17.09.21</c:v>
                </c:pt>
                <c:pt idx="43">
                  <c:v>18.09.21</c:v>
                </c:pt>
                <c:pt idx="44">
                  <c:v>19.09.21</c:v>
                </c:pt>
                <c:pt idx="45">
                  <c:v>20.09.21</c:v>
                </c:pt>
                <c:pt idx="46">
                  <c:v>21.09.21</c:v>
                </c:pt>
                <c:pt idx="47">
                  <c:v>22.09.21</c:v>
                </c:pt>
                <c:pt idx="48">
                  <c:v>23.09.21</c:v>
                </c:pt>
                <c:pt idx="49">
                  <c:v>24.09.21</c:v>
                </c:pt>
                <c:pt idx="50">
                  <c:v>25.09.21</c:v>
                </c:pt>
                <c:pt idx="51">
                  <c:v>26.09.21</c:v>
                </c:pt>
                <c:pt idx="52">
                  <c:v>27.09.21</c:v>
                </c:pt>
                <c:pt idx="53">
                  <c:v>28.09.21</c:v>
                </c:pt>
                <c:pt idx="54">
                  <c:v>29.09.21</c:v>
                </c:pt>
                <c:pt idx="55">
                  <c:v>30.09.21</c:v>
                </c:pt>
                <c:pt idx="56">
                  <c:v>01.10.21</c:v>
                </c:pt>
                <c:pt idx="57">
                  <c:v>02.10.21</c:v>
                </c:pt>
                <c:pt idx="58">
                  <c:v>03.10.21</c:v>
                </c:pt>
                <c:pt idx="59">
                  <c:v>04.10.21</c:v>
                </c:pt>
                <c:pt idx="60">
                  <c:v>05.10.21</c:v>
                </c:pt>
                <c:pt idx="61">
                  <c:v>06.10.21</c:v>
                </c:pt>
                <c:pt idx="62">
                  <c:v>07.10.21</c:v>
                </c:pt>
                <c:pt idx="63">
                  <c:v>08.10.21</c:v>
                </c:pt>
                <c:pt idx="64">
                  <c:v>09.10.21</c:v>
                </c:pt>
                <c:pt idx="65">
                  <c:v>10.10.21</c:v>
                </c:pt>
                <c:pt idx="66">
                  <c:v>11.10.21</c:v>
                </c:pt>
                <c:pt idx="67">
                  <c:v>12.10.21</c:v>
                </c:pt>
                <c:pt idx="68">
                  <c:v>13.10.21</c:v>
                </c:pt>
                <c:pt idx="69">
                  <c:v>14.10.21</c:v>
                </c:pt>
                <c:pt idx="70">
                  <c:v>15.10.21</c:v>
                </c:pt>
                <c:pt idx="71">
                  <c:v>16.10.21</c:v>
                </c:pt>
                <c:pt idx="72">
                  <c:v>17.10.21</c:v>
                </c:pt>
                <c:pt idx="73">
                  <c:v>18.10.21</c:v>
                </c:pt>
                <c:pt idx="74">
                  <c:v>19.10.21</c:v>
                </c:pt>
                <c:pt idx="75">
                  <c:v>20.10.21</c:v>
                </c:pt>
                <c:pt idx="76">
                  <c:v>21.10.21</c:v>
                </c:pt>
                <c:pt idx="77">
                  <c:v>22.10.21</c:v>
                </c:pt>
                <c:pt idx="78">
                  <c:v>23.10.21</c:v>
                </c:pt>
                <c:pt idx="79">
                  <c:v>24.10.21</c:v>
                </c:pt>
                <c:pt idx="80">
                  <c:v>25.10.21</c:v>
                </c:pt>
                <c:pt idx="81">
                  <c:v>26.10.21</c:v>
                </c:pt>
                <c:pt idx="82">
                  <c:v>27.10.21</c:v>
                </c:pt>
                <c:pt idx="83">
                  <c:v>28.10.21</c:v>
                </c:pt>
                <c:pt idx="84">
                  <c:v>29.10.21</c:v>
                </c:pt>
                <c:pt idx="85">
                  <c:v>30.10.21</c:v>
                </c:pt>
                <c:pt idx="86">
                  <c:v>31.10.21</c:v>
                </c:pt>
                <c:pt idx="87">
                  <c:v>01.11.21</c:v>
                </c:pt>
                <c:pt idx="88">
                  <c:v>02.11.21</c:v>
                </c:pt>
                <c:pt idx="89">
                  <c:v>03.11.21</c:v>
                </c:pt>
                <c:pt idx="90">
                  <c:v>04.11.21</c:v>
                </c:pt>
                <c:pt idx="91">
                  <c:v>05.11.21</c:v>
                </c:pt>
                <c:pt idx="92">
                  <c:v>06.11.21</c:v>
                </c:pt>
                <c:pt idx="93">
                  <c:v>07.11.21</c:v>
                </c:pt>
                <c:pt idx="94">
                  <c:v>08.11.21</c:v>
                </c:pt>
                <c:pt idx="95">
                  <c:v>09.11.21</c:v>
                </c:pt>
                <c:pt idx="96">
                  <c:v>10.11.21</c:v>
                </c:pt>
                <c:pt idx="97">
                  <c:v>11.11.21</c:v>
                </c:pt>
                <c:pt idx="98">
                  <c:v>12.11.21</c:v>
                </c:pt>
                <c:pt idx="99">
                  <c:v>13.11.21</c:v>
                </c:pt>
                <c:pt idx="100">
                  <c:v>14.11.21</c:v>
                </c:pt>
                <c:pt idx="101">
                  <c:v>15.11.21</c:v>
                </c:pt>
                <c:pt idx="102">
                  <c:v>16.11.21</c:v>
                </c:pt>
                <c:pt idx="103">
                  <c:v>17.11.21</c:v>
                </c:pt>
                <c:pt idx="104">
                  <c:v>18.11.21</c:v>
                </c:pt>
                <c:pt idx="105">
                  <c:v>19.11.21</c:v>
                </c:pt>
                <c:pt idx="106">
                  <c:v>20.11.21</c:v>
                </c:pt>
                <c:pt idx="107">
                  <c:v>21.11.21</c:v>
                </c:pt>
                <c:pt idx="108">
                  <c:v>22.11.21</c:v>
                </c:pt>
                <c:pt idx="109">
                  <c:v>23.11.21</c:v>
                </c:pt>
                <c:pt idx="110">
                  <c:v>24.11.21</c:v>
                </c:pt>
                <c:pt idx="111">
                  <c:v>25.11.21</c:v>
                </c:pt>
                <c:pt idx="112">
                  <c:v>26.11.21</c:v>
                </c:pt>
                <c:pt idx="113">
                  <c:v>27.11.21</c:v>
                </c:pt>
                <c:pt idx="114">
                  <c:v>28.11.21</c:v>
                </c:pt>
                <c:pt idx="115">
                  <c:v>29.11.21</c:v>
                </c:pt>
                <c:pt idx="116">
                  <c:v>30.11.21</c:v>
                </c:pt>
                <c:pt idx="117">
                  <c:v>01.12.21</c:v>
                </c:pt>
                <c:pt idx="118">
                  <c:v>02.12.21</c:v>
                </c:pt>
                <c:pt idx="119">
                  <c:v>03.12.21</c:v>
                </c:pt>
                <c:pt idx="120">
                  <c:v>04.12.21</c:v>
                </c:pt>
                <c:pt idx="121">
                  <c:v>05.12.21</c:v>
                </c:pt>
                <c:pt idx="122">
                  <c:v>06.12.21</c:v>
                </c:pt>
                <c:pt idx="123">
                  <c:v>07.12.21</c:v>
                </c:pt>
                <c:pt idx="124">
                  <c:v>08.12.21</c:v>
                </c:pt>
                <c:pt idx="125">
                  <c:v>09.12.21</c:v>
                </c:pt>
                <c:pt idx="126">
                  <c:v>10.12.21</c:v>
                </c:pt>
                <c:pt idx="127">
                  <c:v>11.12.21</c:v>
                </c:pt>
                <c:pt idx="128">
                  <c:v>12.12.21</c:v>
                </c:pt>
                <c:pt idx="129">
                  <c:v>13.12.21</c:v>
                </c:pt>
                <c:pt idx="130">
                  <c:v>14.12.21</c:v>
                </c:pt>
                <c:pt idx="131">
                  <c:v>15.12.21</c:v>
                </c:pt>
                <c:pt idx="132">
                  <c:v>16.12.21</c:v>
                </c:pt>
                <c:pt idx="133">
                  <c:v>17.12.21</c:v>
                </c:pt>
                <c:pt idx="134">
                  <c:v>18.12.21</c:v>
                </c:pt>
                <c:pt idx="135">
                  <c:v>19.12.21</c:v>
                </c:pt>
                <c:pt idx="136">
                  <c:v>20.12.21</c:v>
                </c:pt>
                <c:pt idx="137">
                  <c:v>21.12.21</c:v>
                </c:pt>
                <c:pt idx="138">
                  <c:v>22.12.21</c:v>
                </c:pt>
                <c:pt idx="139">
                  <c:v>23.12.21</c:v>
                </c:pt>
                <c:pt idx="140">
                  <c:v>24.12.21</c:v>
                </c:pt>
                <c:pt idx="141">
                  <c:v>25.12.21</c:v>
                </c:pt>
                <c:pt idx="142">
                  <c:v>26.12.21</c:v>
                </c:pt>
                <c:pt idx="143">
                  <c:v>27.12.21</c:v>
                </c:pt>
                <c:pt idx="144">
                  <c:v>28.12.21</c:v>
                </c:pt>
                <c:pt idx="145">
                  <c:v>29.12.21</c:v>
                </c:pt>
                <c:pt idx="146">
                  <c:v>30.12.21</c:v>
                </c:pt>
                <c:pt idx="147">
                  <c:v>31.12.21</c:v>
                </c:pt>
                <c:pt idx="148">
                  <c:v>01.01.22</c:v>
                </c:pt>
                <c:pt idx="149">
                  <c:v>02.01.22</c:v>
                </c:pt>
                <c:pt idx="150">
                  <c:v>03.01.22</c:v>
                </c:pt>
                <c:pt idx="151">
                  <c:v>04.01.22</c:v>
                </c:pt>
                <c:pt idx="152">
                  <c:v>05.01.22</c:v>
                </c:pt>
                <c:pt idx="153">
                  <c:v>06.01.22</c:v>
                </c:pt>
                <c:pt idx="154">
                  <c:v>07.01.22</c:v>
                </c:pt>
                <c:pt idx="155">
                  <c:v>08.01.22</c:v>
                </c:pt>
                <c:pt idx="156">
                  <c:v>09.01.22</c:v>
                </c:pt>
                <c:pt idx="157">
                  <c:v>10.01.22</c:v>
                </c:pt>
                <c:pt idx="158">
                  <c:v>11.01.22</c:v>
                </c:pt>
                <c:pt idx="159">
                  <c:v>12.01.22</c:v>
                </c:pt>
                <c:pt idx="160">
                  <c:v>13.01.22</c:v>
                </c:pt>
                <c:pt idx="161">
                  <c:v>14.01.22</c:v>
                </c:pt>
                <c:pt idx="162">
                  <c:v>15.01.22</c:v>
                </c:pt>
                <c:pt idx="163">
                  <c:v>16.01.22</c:v>
                </c:pt>
                <c:pt idx="164">
                  <c:v>17.01.22</c:v>
                </c:pt>
                <c:pt idx="165">
                  <c:v>18.01.22</c:v>
                </c:pt>
                <c:pt idx="166">
                  <c:v>19.01.22</c:v>
                </c:pt>
                <c:pt idx="167">
                  <c:v>20.01.22</c:v>
                </c:pt>
                <c:pt idx="168">
                  <c:v>21.01.22</c:v>
                </c:pt>
                <c:pt idx="169">
                  <c:v>22.01.22</c:v>
                </c:pt>
                <c:pt idx="170">
                  <c:v>23.01.22</c:v>
                </c:pt>
                <c:pt idx="171">
                  <c:v>24.01.22</c:v>
                </c:pt>
                <c:pt idx="172">
                  <c:v>25.01.22</c:v>
                </c:pt>
                <c:pt idx="173">
                  <c:v>26.01.22</c:v>
                </c:pt>
                <c:pt idx="174">
                  <c:v>27.01.22</c:v>
                </c:pt>
                <c:pt idx="175">
                  <c:v>28.01.22</c:v>
                </c:pt>
                <c:pt idx="176">
                  <c:v>29.01.22</c:v>
                </c:pt>
                <c:pt idx="177">
                  <c:v>30.01.22</c:v>
                </c:pt>
                <c:pt idx="178">
                  <c:v>31.01.22</c:v>
                </c:pt>
                <c:pt idx="179">
                  <c:v>01.02.22</c:v>
                </c:pt>
                <c:pt idx="180">
                  <c:v>02.02.22</c:v>
                </c:pt>
                <c:pt idx="181">
                  <c:v>03.02.22</c:v>
                </c:pt>
                <c:pt idx="182">
                  <c:v>04.02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80</c:v>
                </c:pt>
                <c:pt idx="1">
                  <c:v>79</c:v>
                </c:pt>
                <c:pt idx="2">
                  <c:v>76</c:v>
                </c:pt>
                <c:pt idx="3">
                  <c:v>78</c:v>
                </c:pt>
                <c:pt idx="4">
                  <c:v>80</c:v>
                </c:pt>
                <c:pt idx="5">
                  <c:v>82</c:v>
                </c:pt>
                <c:pt idx="6">
                  <c:v>82</c:v>
                </c:pt>
                <c:pt idx="7">
                  <c:v>84</c:v>
                </c:pt>
                <c:pt idx="8">
                  <c:v>85</c:v>
                </c:pt>
                <c:pt idx="9">
                  <c:v>86</c:v>
                </c:pt>
                <c:pt idx="10">
                  <c:v>88</c:v>
                </c:pt>
                <c:pt idx="11">
                  <c:v>90</c:v>
                </c:pt>
                <c:pt idx="12">
                  <c:v>91</c:v>
                </c:pt>
                <c:pt idx="13">
                  <c:v>91</c:v>
                </c:pt>
                <c:pt idx="14">
                  <c:v>91</c:v>
                </c:pt>
                <c:pt idx="15">
                  <c:v>91</c:v>
                </c:pt>
                <c:pt idx="16">
                  <c:v>91</c:v>
                </c:pt>
                <c:pt idx="17">
                  <c:v>93</c:v>
                </c:pt>
                <c:pt idx="18">
                  <c:v>94</c:v>
                </c:pt>
                <c:pt idx="19">
                  <c:v>91</c:v>
                </c:pt>
                <c:pt idx="20">
                  <c:v>92</c:v>
                </c:pt>
                <c:pt idx="21">
                  <c:v>91</c:v>
                </c:pt>
                <c:pt idx="22">
                  <c:v>91</c:v>
                </c:pt>
                <c:pt idx="23">
                  <c:v>90</c:v>
                </c:pt>
                <c:pt idx="24">
                  <c:v>85</c:v>
                </c:pt>
                <c:pt idx="25">
                  <c:v>86</c:v>
                </c:pt>
                <c:pt idx="26">
                  <c:v>84</c:v>
                </c:pt>
                <c:pt idx="27">
                  <c:v>89</c:v>
                </c:pt>
                <c:pt idx="28">
                  <c:v>95</c:v>
                </c:pt>
                <c:pt idx="29">
                  <c:v>96</c:v>
                </c:pt>
                <c:pt idx="30">
                  <c:v>94</c:v>
                </c:pt>
                <c:pt idx="31">
                  <c:v>92</c:v>
                </c:pt>
                <c:pt idx="32">
                  <c:v>98</c:v>
                </c:pt>
                <c:pt idx="33">
                  <c:v>98</c:v>
                </c:pt>
                <c:pt idx="34">
                  <c:v>100</c:v>
                </c:pt>
                <c:pt idx="35">
                  <c:v>100</c:v>
                </c:pt>
                <c:pt idx="36">
                  <c:v>99</c:v>
                </c:pt>
                <c:pt idx="37">
                  <c:v>100</c:v>
                </c:pt>
                <c:pt idx="38">
                  <c:v>101</c:v>
                </c:pt>
                <c:pt idx="39">
                  <c:v>104</c:v>
                </c:pt>
                <c:pt idx="40">
                  <c:v>106</c:v>
                </c:pt>
                <c:pt idx="41">
                  <c:v>108</c:v>
                </c:pt>
                <c:pt idx="42">
                  <c:v>107</c:v>
                </c:pt>
                <c:pt idx="43">
                  <c:v>109</c:v>
                </c:pt>
                <c:pt idx="44">
                  <c:v>110</c:v>
                </c:pt>
                <c:pt idx="45">
                  <c:v>116</c:v>
                </c:pt>
                <c:pt idx="46">
                  <c:v>118</c:v>
                </c:pt>
                <c:pt idx="47">
                  <c:v>123</c:v>
                </c:pt>
                <c:pt idx="48">
                  <c:v>126</c:v>
                </c:pt>
                <c:pt idx="49">
                  <c:v>133</c:v>
                </c:pt>
                <c:pt idx="50">
                  <c:v>139</c:v>
                </c:pt>
                <c:pt idx="51">
                  <c:v>141</c:v>
                </c:pt>
                <c:pt idx="52">
                  <c:v>142</c:v>
                </c:pt>
                <c:pt idx="53">
                  <c:v>147</c:v>
                </c:pt>
                <c:pt idx="54">
                  <c:v>153</c:v>
                </c:pt>
                <c:pt idx="55">
                  <c:v>161</c:v>
                </c:pt>
                <c:pt idx="56">
                  <c:v>163</c:v>
                </c:pt>
                <c:pt idx="57">
                  <c:v>164</c:v>
                </c:pt>
                <c:pt idx="58">
                  <c:v>170</c:v>
                </c:pt>
                <c:pt idx="59">
                  <c:v>169</c:v>
                </c:pt>
                <c:pt idx="60">
                  <c:v>177</c:v>
                </c:pt>
                <c:pt idx="61">
                  <c:v>181</c:v>
                </c:pt>
                <c:pt idx="62">
                  <c:v>183</c:v>
                </c:pt>
                <c:pt idx="63">
                  <c:v>184</c:v>
                </c:pt>
                <c:pt idx="64">
                  <c:v>184</c:v>
                </c:pt>
                <c:pt idx="65">
                  <c:v>182</c:v>
                </c:pt>
                <c:pt idx="66">
                  <c:v>193</c:v>
                </c:pt>
                <c:pt idx="67">
                  <c:v>205</c:v>
                </c:pt>
                <c:pt idx="68">
                  <c:v>206</c:v>
                </c:pt>
                <c:pt idx="69">
                  <c:v>216</c:v>
                </c:pt>
                <c:pt idx="70">
                  <c:v>226</c:v>
                </c:pt>
                <c:pt idx="71">
                  <c:v>231</c:v>
                </c:pt>
                <c:pt idx="72">
                  <c:v>234</c:v>
                </c:pt>
                <c:pt idx="73">
                  <c:v>256</c:v>
                </c:pt>
                <c:pt idx="74">
                  <c:v>267</c:v>
                </c:pt>
                <c:pt idx="75">
                  <c:v>283</c:v>
                </c:pt>
                <c:pt idx="76">
                  <c:v>322</c:v>
                </c:pt>
                <c:pt idx="77">
                  <c:v>349</c:v>
                </c:pt>
                <c:pt idx="78">
                  <c:v>378</c:v>
                </c:pt>
                <c:pt idx="79">
                  <c:v>381</c:v>
                </c:pt>
                <c:pt idx="80">
                  <c:v>424</c:v>
                </c:pt>
                <c:pt idx="81">
                  <c:v>470</c:v>
                </c:pt>
                <c:pt idx="82">
                  <c:v>521</c:v>
                </c:pt>
                <c:pt idx="83">
                  <c:v>536</c:v>
                </c:pt>
                <c:pt idx="84">
                  <c:v>595</c:v>
                </c:pt>
                <c:pt idx="85">
                  <c:v>642</c:v>
                </c:pt>
                <c:pt idx="86">
                  <c:v>669</c:v>
                </c:pt>
                <c:pt idx="87">
                  <c:v>731</c:v>
                </c:pt>
                <c:pt idx="88">
                  <c:v>812</c:v>
                </c:pt>
                <c:pt idx="89">
                  <c:v>885</c:v>
                </c:pt>
                <c:pt idx="90">
                  <c:v>929</c:v>
                </c:pt>
                <c:pt idx="91">
                  <c:v>1003</c:v>
                </c:pt>
                <c:pt idx="92">
                  <c:v>1059</c:v>
                </c:pt>
                <c:pt idx="93">
                  <c:v>1061</c:v>
                </c:pt>
                <c:pt idx="94">
                  <c:v>1101</c:v>
                </c:pt>
                <c:pt idx="95">
                  <c:v>1180</c:v>
                </c:pt>
                <c:pt idx="96">
                  <c:v>1280</c:v>
                </c:pt>
                <c:pt idx="97">
                  <c:v>1335</c:v>
                </c:pt>
                <c:pt idx="98">
                  <c:v>1402</c:v>
                </c:pt>
                <c:pt idx="99">
                  <c:v>1439</c:v>
                </c:pt>
                <c:pt idx="100">
                  <c:v>1448</c:v>
                </c:pt>
                <c:pt idx="101">
                  <c:v>1481</c:v>
                </c:pt>
                <c:pt idx="102">
                  <c:v>1593</c:v>
                </c:pt>
                <c:pt idx="103">
                  <c:v>1595</c:v>
                </c:pt>
                <c:pt idx="104">
                  <c:v>1648</c:v>
                </c:pt>
                <c:pt idx="105">
                  <c:v>1749</c:v>
                </c:pt>
                <c:pt idx="106">
                  <c:v>1845</c:v>
                </c:pt>
                <c:pt idx="107">
                  <c:v>1890</c:v>
                </c:pt>
                <c:pt idx="108">
                  <c:v>1904</c:v>
                </c:pt>
                <c:pt idx="109">
                  <c:v>2012</c:v>
                </c:pt>
                <c:pt idx="110">
                  <c:v>1999</c:v>
                </c:pt>
                <c:pt idx="111">
                  <c:v>2083</c:v>
                </c:pt>
                <c:pt idx="112">
                  <c:v>2119</c:v>
                </c:pt>
                <c:pt idx="113">
                  <c:v>2157</c:v>
                </c:pt>
                <c:pt idx="114">
                  <c:v>2181</c:v>
                </c:pt>
                <c:pt idx="115">
                  <c:v>2135</c:v>
                </c:pt>
                <c:pt idx="116">
                  <c:v>2109</c:v>
                </c:pt>
                <c:pt idx="117">
                  <c:v>2191</c:v>
                </c:pt>
                <c:pt idx="118">
                  <c:v>2113</c:v>
                </c:pt>
                <c:pt idx="119">
                  <c:v>2012</c:v>
                </c:pt>
                <c:pt idx="120">
                  <c:v>2017</c:v>
                </c:pt>
                <c:pt idx="121">
                  <c:v>1999</c:v>
                </c:pt>
                <c:pt idx="122">
                  <c:v>1860</c:v>
                </c:pt>
                <c:pt idx="123">
                  <c:v>1807</c:v>
                </c:pt>
                <c:pt idx="124">
                  <c:v>1752</c:v>
                </c:pt>
                <c:pt idx="125">
                  <c:v>1722</c:v>
                </c:pt>
                <c:pt idx="126">
                  <c:v>1656</c:v>
                </c:pt>
                <c:pt idx="127">
                  <c:v>1656</c:v>
                </c:pt>
                <c:pt idx="128">
                  <c:v>1643</c:v>
                </c:pt>
                <c:pt idx="129">
                  <c:v>1502</c:v>
                </c:pt>
                <c:pt idx="130">
                  <c:v>1475</c:v>
                </c:pt>
                <c:pt idx="131">
                  <c:v>1415</c:v>
                </c:pt>
                <c:pt idx="132">
                  <c:v>1351</c:v>
                </c:pt>
                <c:pt idx="133">
                  <c:v>1292</c:v>
                </c:pt>
                <c:pt idx="134">
                  <c:v>1277</c:v>
                </c:pt>
                <c:pt idx="135">
                  <c:v>1246</c:v>
                </c:pt>
                <c:pt idx="136">
                  <c:v>1139</c:v>
                </c:pt>
                <c:pt idx="137">
                  <c:v>1087</c:v>
                </c:pt>
                <c:pt idx="138">
                  <c:v>1036</c:v>
                </c:pt>
                <c:pt idx="139">
                  <c:v>995</c:v>
                </c:pt>
                <c:pt idx="140">
                  <c:v>903</c:v>
                </c:pt>
                <c:pt idx="141">
                  <c:v>869</c:v>
                </c:pt>
                <c:pt idx="142">
                  <c:v>829</c:v>
                </c:pt>
                <c:pt idx="143">
                  <c:v>768</c:v>
                </c:pt>
                <c:pt idx="144">
                  <c:v>768</c:v>
                </c:pt>
                <c:pt idx="145">
                  <c:v>751</c:v>
                </c:pt>
                <c:pt idx="146">
                  <c:v>726</c:v>
                </c:pt>
                <c:pt idx="147">
                  <c:v>703</c:v>
                </c:pt>
                <c:pt idx="148">
                  <c:v>682</c:v>
                </c:pt>
                <c:pt idx="149">
                  <c:v>678</c:v>
                </c:pt>
                <c:pt idx="150">
                  <c:v>656</c:v>
                </c:pt>
                <c:pt idx="151">
                  <c:v>669</c:v>
                </c:pt>
                <c:pt idx="152">
                  <c:v>657</c:v>
                </c:pt>
                <c:pt idx="153">
                  <c:v>664</c:v>
                </c:pt>
                <c:pt idx="154">
                  <c:v>708</c:v>
                </c:pt>
                <c:pt idx="155">
                  <c:v>723</c:v>
                </c:pt>
                <c:pt idx="156">
                  <c:v>718</c:v>
                </c:pt>
                <c:pt idx="157">
                  <c:v>680</c:v>
                </c:pt>
                <c:pt idx="158">
                  <c:v>704</c:v>
                </c:pt>
                <c:pt idx="159">
                  <c:v>736</c:v>
                </c:pt>
                <c:pt idx="160">
                  <c:v>770</c:v>
                </c:pt>
                <c:pt idx="161">
                  <c:v>815</c:v>
                </c:pt>
                <c:pt idx="162">
                  <c:v>874</c:v>
                </c:pt>
                <c:pt idx="163">
                  <c:v>873</c:v>
                </c:pt>
                <c:pt idx="164">
                  <c:v>963</c:v>
                </c:pt>
                <c:pt idx="165">
                  <c:v>1110</c:v>
                </c:pt>
                <c:pt idx="166">
                  <c:v>1257</c:v>
                </c:pt>
                <c:pt idx="167">
                  <c:v>1399</c:v>
                </c:pt>
                <c:pt idx="168">
                  <c:v>1516</c:v>
                </c:pt>
                <c:pt idx="169">
                  <c:v>1542</c:v>
                </c:pt>
                <c:pt idx="170">
                  <c:v>1564</c:v>
                </c:pt>
                <c:pt idx="171">
                  <c:v>1724</c:v>
                </c:pt>
                <c:pt idx="172">
                  <c:v>1999</c:v>
                </c:pt>
                <c:pt idx="173">
                  <c:v>2340</c:v>
                </c:pt>
                <c:pt idx="174">
                  <c:v>2467</c:v>
                </c:pt>
                <c:pt idx="175">
                  <c:v>2703</c:v>
                </c:pt>
                <c:pt idx="176">
                  <c:v>2659</c:v>
                </c:pt>
                <c:pt idx="177">
                  <c:v>2659</c:v>
                </c:pt>
                <c:pt idx="178">
                  <c:v>2887</c:v>
                </c:pt>
                <c:pt idx="179">
                  <c:v>3254</c:v>
                </c:pt>
                <c:pt idx="180">
                  <c:v>3519</c:v>
                </c:pt>
                <c:pt idx="181">
                  <c:v>3453</c:v>
                </c:pt>
                <c:pt idx="182">
                  <c:v>33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9.1782611028705868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06.08.21</c:v>
                </c:pt>
                <c:pt idx="1">
                  <c:v>07.08.21</c:v>
                </c:pt>
                <c:pt idx="2">
                  <c:v>08.08.21</c:v>
                </c:pt>
                <c:pt idx="3">
                  <c:v>09.08.21</c:v>
                </c:pt>
                <c:pt idx="4">
                  <c:v>10.08.21</c:v>
                </c:pt>
                <c:pt idx="5">
                  <c:v>11.08.21</c:v>
                </c:pt>
                <c:pt idx="6">
                  <c:v>12.08.21</c:v>
                </c:pt>
                <c:pt idx="7">
                  <c:v>13.08.21</c:v>
                </c:pt>
                <c:pt idx="8">
                  <c:v>14.08.21</c:v>
                </c:pt>
                <c:pt idx="9">
                  <c:v>15.08.21</c:v>
                </c:pt>
                <c:pt idx="10">
                  <c:v>16.08.21</c:v>
                </c:pt>
                <c:pt idx="11">
                  <c:v>17.08.21</c:v>
                </c:pt>
                <c:pt idx="12">
                  <c:v>18.08.21</c:v>
                </c:pt>
                <c:pt idx="13">
                  <c:v>19.08.21</c:v>
                </c:pt>
                <c:pt idx="14">
                  <c:v>20.08.21</c:v>
                </c:pt>
                <c:pt idx="15">
                  <c:v>21.08.21</c:v>
                </c:pt>
                <c:pt idx="16">
                  <c:v>22.08.21</c:v>
                </c:pt>
                <c:pt idx="17">
                  <c:v>23.08.21</c:v>
                </c:pt>
                <c:pt idx="18">
                  <c:v>24.08.21</c:v>
                </c:pt>
                <c:pt idx="19">
                  <c:v>25.08.21</c:v>
                </c:pt>
                <c:pt idx="20">
                  <c:v>26.08.21</c:v>
                </c:pt>
                <c:pt idx="21">
                  <c:v>27.08.21</c:v>
                </c:pt>
                <c:pt idx="22">
                  <c:v>28.08.21</c:v>
                </c:pt>
                <c:pt idx="23">
                  <c:v>29.08.21</c:v>
                </c:pt>
                <c:pt idx="24">
                  <c:v>30.08.21</c:v>
                </c:pt>
                <c:pt idx="25">
                  <c:v>31.08.21</c:v>
                </c:pt>
                <c:pt idx="26">
                  <c:v>01.09.21</c:v>
                </c:pt>
                <c:pt idx="27">
                  <c:v>02.09.21</c:v>
                </c:pt>
                <c:pt idx="28">
                  <c:v>03.09.21</c:v>
                </c:pt>
                <c:pt idx="29">
                  <c:v>04.09.21</c:v>
                </c:pt>
                <c:pt idx="30">
                  <c:v>05.09.21</c:v>
                </c:pt>
                <c:pt idx="31">
                  <c:v>06.09.21</c:v>
                </c:pt>
                <c:pt idx="32">
                  <c:v>07.09.21</c:v>
                </c:pt>
                <c:pt idx="33">
                  <c:v>08.09.21</c:v>
                </c:pt>
                <c:pt idx="34">
                  <c:v>09.09.21</c:v>
                </c:pt>
                <c:pt idx="35">
                  <c:v>10.09.21</c:v>
                </c:pt>
                <c:pt idx="36">
                  <c:v>11.09.21</c:v>
                </c:pt>
                <c:pt idx="37">
                  <c:v>12.09.21</c:v>
                </c:pt>
                <c:pt idx="38">
                  <c:v>13.09.21</c:v>
                </c:pt>
                <c:pt idx="39">
                  <c:v>14.09.21</c:v>
                </c:pt>
                <c:pt idx="40">
                  <c:v>15.09.21</c:v>
                </c:pt>
                <c:pt idx="41">
                  <c:v>16.09.21</c:v>
                </c:pt>
                <c:pt idx="42">
                  <c:v>17.09.21</c:v>
                </c:pt>
                <c:pt idx="43">
                  <c:v>18.09.21</c:v>
                </c:pt>
                <c:pt idx="44">
                  <c:v>19.09.21</c:v>
                </c:pt>
                <c:pt idx="45">
                  <c:v>20.09.21</c:v>
                </c:pt>
                <c:pt idx="46">
                  <c:v>21.09.21</c:v>
                </c:pt>
                <c:pt idx="47">
                  <c:v>22.09.21</c:v>
                </c:pt>
                <c:pt idx="48">
                  <c:v>23.09.21</c:v>
                </c:pt>
                <c:pt idx="49">
                  <c:v>24.09.21</c:v>
                </c:pt>
                <c:pt idx="50">
                  <c:v>25.09.21</c:v>
                </c:pt>
                <c:pt idx="51">
                  <c:v>26.09.21</c:v>
                </c:pt>
                <c:pt idx="52">
                  <c:v>27.09.21</c:v>
                </c:pt>
                <c:pt idx="53">
                  <c:v>28.09.21</c:v>
                </c:pt>
                <c:pt idx="54">
                  <c:v>29.09.21</c:v>
                </c:pt>
                <c:pt idx="55">
                  <c:v>30.09.21</c:v>
                </c:pt>
                <c:pt idx="56">
                  <c:v>01.10.21</c:v>
                </c:pt>
                <c:pt idx="57">
                  <c:v>02.10.21</c:v>
                </c:pt>
                <c:pt idx="58">
                  <c:v>03.10.21</c:v>
                </c:pt>
                <c:pt idx="59">
                  <c:v>04.10.21</c:v>
                </c:pt>
                <c:pt idx="60">
                  <c:v>05.10.21</c:v>
                </c:pt>
                <c:pt idx="61">
                  <c:v>06.10.21</c:v>
                </c:pt>
                <c:pt idx="62">
                  <c:v>07.10.21</c:v>
                </c:pt>
                <c:pt idx="63">
                  <c:v>08.10.21</c:v>
                </c:pt>
                <c:pt idx="64">
                  <c:v>09.10.21</c:v>
                </c:pt>
                <c:pt idx="65">
                  <c:v>10.10.21</c:v>
                </c:pt>
                <c:pt idx="66">
                  <c:v>11.10.21</c:v>
                </c:pt>
                <c:pt idx="67">
                  <c:v>12.10.21</c:v>
                </c:pt>
                <c:pt idx="68">
                  <c:v>13.10.21</c:v>
                </c:pt>
                <c:pt idx="69">
                  <c:v>14.10.21</c:v>
                </c:pt>
                <c:pt idx="70">
                  <c:v>15.10.21</c:v>
                </c:pt>
                <c:pt idx="71">
                  <c:v>16.10.21</c:v>
                </c:pt>
                <c:pt idx="72">
                  <c:v>17.10.21</c:v>
                </c:pt>
                <c:pt idx="73">
                  <c:v>18.10.21</c:v>
                </c:pt>
                <c:pt idx="74">
                  <c:v>19.10.21</c:v>
                </c:pt>
                <c:pt idx="75">
                  <c:v>20.10.21</c:v>
                </c:pt>
                <c:pt idx="76">
                  <c:v>21.10.21</c:v>
                </c:pt>
                <c:pt idx="77">
                  <c:v>22.10.21</c:v>
                </c:pt>
                <c:pt idx="78">
                  <c:v>23.10.21</c:v>
                </c:pt>
                <c:pt idx="79">
                  <c:v>24.10.21</c:v>
                </c:pt>
                <c:pt idx="80">
                  <c:v>25.10.21</c:v>
                </c:pt>
                <c:pt idx="81">
                  <c:v>26.10.21</c:v>
                </c:pt>
                <c:pt idx="82">
                  <c:v>27.10.21</c:v>
                </c:pt>
                <c:pt idx="83">
                  <c:v>28.10.21</c:v>
                </c:pt>
                <c:pt idx="84">
                  <c:v>29.10.21</c:v>
                </c:pt>
                <c:pt idx="85">
                  <c:v>30.10.21</c:v>
                </c:pt>
                <c:pt idx="86">
                  <c:v>31.10.21</c:v>
                </c:pt>
                <c:pt idx="87">
                  <c:v>01.11.21</c:v>
                </c:pt>
                <c:pt idx="88">
                  <c:v>02.11.21</c:v>
                </c:pt>
                <c:pt idx="89">
                  <c:v>03.11.21</c:v>
                </c:pt>
                <c:pt idx="90">
                  <c:v>04.11.21</c:v>
                </c:pt>
                <c:pt idx="91">
                  <c:v>05.11.21</c:v>
                </c:pt>
                <c:pt idx="92">
                  <c:v>06.11.21</c:v>
                </c:pt>
                <c:pt idx="93">
                  <c:v>07.11.21</c:v>
                </c:pt>
                <c:pt idx="94">
                  <c:v>08.11.21</c:v>
                </c:pt>
                <c:pt idx="95">
                  <c:v>09.11.21</c:v>
                </c:pt>
                <c:pt idx="96">
                  <c:v>10.11.21</c:v>
                </c:pt>
                <c:pt idx="97">
                  <c:v>11.11.21</c:v>
                </c:pt>
                <c:pt idx="98">
                  <c:v>12.11.21</c:v>
                </c:pt>
                <c:pt idx="99">
                  <c:v>13.11.21</c:v>
                </c:pt>
                <c:pt idx="100">
                  <c:v>14.11.21</c:v>
                </c:pt>
                <c:pt idx="101">
                  <c:v>15.11.21</c:v>
                </c:pt>
                <c:pt idx="102">
                  <c:v>16.11.21</c:v>
                </c:pt>
                <c:pt idx="103">
                  <c:v>17.11.21</c:v>
                </c:pt>
                <c:pt idx="104">
                  <c:v>18.11.21</c:v>
                </c:pt>
                <c:pt idx="105">
                  <c:v>19.11.21</c:v>
                </c:pt>
                <c:pt idx="106">
                  <c:v>20.11.21</c:v>
                </c:pt>
                <c:pt idx="107">
                  <c:v>21.11.21</c:v>
                </c:pt>
                <c:pt idx="108">
                  <c:v>22.11.21</c:v>
                </c:pt>
                <c:pt idx="109">
                  <c:v>23.11.21</c:v>
                </c:pt>
                <c:pt idx="110">
                  <c:v>24.11.21</c:v>
                </c:pt>
                <c:pt idx="111">
                  <c:v>25.11.21</c:v>
                </c:pt>
                <c:pt idx="112">
                  <c:v>26.11.21</c:v>
                </c:pt>
                <c:pt idx="113">
                  <c:v>27.11.21</c:v>
                </c:pt>
                <c:pt idx="114">
                  <c:v>28.11.21</c:v>
                </c:pt>
                <c:pt idx="115">
                  <c:v>29.11.21</c:v>
                </c:pt>
                <c:pt idx="116">
                  <c:v>30.11.21</c:v>
                </c:pt>
                <c:pt idx="117">
                  <c:v>01.12.21</c:v>
                </c:pt>
                <c:pt idx="118">
                  <c:v>02.12.21</c:v>
                </c:pt>
                <c:pt idx="119">
                  <c:v>03.12.21</c:v>
                </c:pt>
                <c:pt idx="120">
                  <c:v>04.12.21</c:v>
                </c:pt>
                <c:pt idx="121">
                  <c:v>05.12.21</c:v>
                </c:pt>
                <c:pt idx="122">
                  <c:v>06.12.21</c:v>
                </c:pt>
                <c:pt idx="123">
                  <c:v>07.12.21</c:v>
                </c:pt>
                <c:pt idx="124">
                  <c:v>08.12.21</c:v>
                </c:pt>
                <c:pt idx="125">
                  <c:v>09.12.21</c:v>
                </c:pt>
                <c:pt idx="126">
                  <c:v>10.12.21</c:v>
                </c:pt>
                <c:pt idx="127">
                  <c:v>11.12.21</c:v>
                </c:pt>
                <c:pt idx="128">
                  <c:v>12.12.21</c:v>
                </c:pt>
                <c:pt idx="129">
                  <c:v>13.12.21</c:v>
                </c:pt>
                <c:pt idx="130">
                  <c:v>14.12.21</c:v>
                </c:pt>
                <c:pt idx="131">
                  <c:v>15.12.21</c:v>
                </c:pt>
                <c:pt idx="132">
                  <c:v>16.12.21</c:v>
                </c:pt>
                <c:pt idx="133">
                  <c:v>17.12.21</c:v>
                </c:pt>
                <c:pt idx="134">
                  <c:v>18.12.21</c:v>
                </c:pt>
                <c:pt idx="135">
                  <c:v>19.12.21</c:v>
                </c:pt>
                <c:pt idx="136">
                  <c:v>20.12.21</c:v>
                </c:pt>
                <c:pt idx="137">
                  <c:v>21.12.21</c:v>
                </c:pt>
                <c:pt idx="138">
                  <c:v>22.12.21</c:v>
                </c:pt>
                <c:pt idx="139">
                  <c:v>23.12.21</c:v>
                </c:pt>
                <c:pt idx="140">
                  <c:v>24.12.21</c:v>
                </c:pt>
                <c:pt idx="141">
                  <c:v>25.12.21</c:v>
                </c:pt>
                <c:pt idx="142">
                  <c:v>26.12.21</c:v>
                </c:pt>
                <c:pt idx="143">
                  <c:v>27.12.21</c:v>
                </c:pt>
                <c:pt idx="144">
                  <c:v>28.12.21</c:v>
                </c:pt>
                <c:pt idx="145">
                  <c:v>29.12.21</c:v>
                </c:pt>
                <c:pt idx="146">
                  <c:v>30.12.21</c:v>
                </c:pt>
                <c:pt idx="147">
                  <c:v>31.12.21</c:v>
                </c:pt>
                <c:pt idx="148">
                  <c:v>01.01.22</c:v>
                </c:pt>
                <c:pt idx="149">
                  <c:v>02.01.22</c:v>
                </c:pt>
                <c:pt idx="150">
                  <c:v>03.01.22</c:v>
                </c:pt>
                <c:pt idx="151">
                  <c:v>04.01.22</c:v>
                </c:pt>
                <c:pt idx="152">
                  <c:v>05.01.22</c:v>
                </c:pt>
                <c:pt idx="153">
                  <c:v>06.01.22</c:v>
                </c:pt>
                <c:pt idx="154">
                  <c:v>07.01.22</c:v>
                </c:pt>
                <c:pt idx="155">
                  <c:v>08.01.22</c:v>
                </c:pt>
                <c:pt idx="156">
                  <c:v>09.01.22</c:v>
                </c:pt>
                <c:pt idx="157">
                  <c:v>10.01.22</c:v>
                </c:pt>
                <c:pt idx="158">
                  <c:v>11.01.22</c:v>
                </c:pt>
                <c:pt idx="159">
                  <c:v>12.01.22</c:v>
                </c:pt>
                <c:pt idx="160">
                  <c:v>13.01.22</c:v>
                </c:pt>
                <c:pt idx="161">
                  <c:v>14.01.22</c:v>
                </c:pt>
                <c:pt idx="162">
                  <c:v>15.01.22</c:v>
                </c:pt>
                <c:pt idx="163">
                  <c:v>16.01.22</c:v>
                </c:pt>
                <c:pt idx="164">
                  <c:v>17.01.22</c:v>
                </c:pt>
                <c:pt idx="165">
                  <c:v>18.01.22</c:v>
                </c:pt>
                <c:pt idx="166">
                  <c:v>19.01.22</c:v>
                </c:pt>
                <c:pt idx="167">
                  <c:v>20.01.22</c:v>
                </c:pt>
                <c:pt idx="168">
                  <c:v>21.01.22</c:v>
                </c:pt>
                <c:pt idx="169">
                  <c:v>22.01.22</c:v>
                </c:pt>
                <c:pt idx="170">
                  <c:v>23.01.22</c:v>
                </c:pt>
                <c:pt idx="171">
                  <c:v>24.01.22</c:v>
                </c:pt>
                <c:pt idx="172">
                  <c:v>25.01.22</c:v>
                </c:pt>
                <c:pt idx="173">
                  <c:v>26.01.22</c:v>
                </c:pt>
                <c:pt idx="174">
                  <c:v>27.01.22</c:v>
                </c:pt>
                <c:pt idx="175">
                  <c:v>28.01.22</c:v>
                </c:pt>
                <c:pt idx="176">
                  <c:v>29.01.22</c:v>
                </c:pt>
                <c:pt idx="177">
                  <c:v>30.01.22</c:v>
                </c:pt>
                <c:pt idx="178">
                  <c:v>31.01.22</c:v>
                </c:pt>
                <c:pt idx="179">
                  <c:v>01.02.22</c:v>
                </c:pt>
                <c:pt idx="180">
                  <c:v>02.02.22</c:v>
                </c:pt>
                <c:pt idx="181">
                  <c:v>03.02.22</c:v>
                </c:pt>
                <c:pt idx="182">
                  <c:v>04.02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102</c:v>
                </c:pt>
                <c:pt idx="1">
                  <c:v>101</c:v>
                </c:pt>
                <c:pt idx="2">
                  <c:v>99</c:v>
                </c:pt>
                <c:pt idx="3">
                  <c:v>102</c:v>
                </c:pt>
                <c:pt idx="4">
                  <c:v>101</c:v>
                </c:pt>
                <c:pt idx="5">
                  <c:v>101</c:v>
                </c:pt>
                <c:pt idx="6">
                  <c:v>100</c:v>
                </c:pt>
                <c:pt idx="7">
                  <c:v>106</c:v>
                </c:pt>
                <c:pt idx="8">
                  <c:v>107</c:v>
                </c:pt>
                <c:pt idx="9">
                  <c:v>107</c:v>
                </c:pt>
                <c:pt idx="10">
                  <c:v>105</c:v>
                </c:pt>
                <c:pt idx="11">
                  <c:v>102</c:v>
                </c:pt>
                <c:pt idx="12">
                  <c:v>101</c:v>
                </c:pt>
                <c:pt idx="13">
                  <c:v>99</c:v>
                </c:pt>
                <c:pt idx="14">
                  <c:v>101</c:v>
                </c:pt>
                <c:pt idx="15">
                  <c:v>102</c:v>
                </c:pt>
                <c:pt idx="16">
                  <c:v>103</c:v>
                </c:pt>
                <c:pt idx="17">
                  <c:v>100</c:v>
                </c:pt>
                <c:pt idx="18">
                  <c:v>101</c:v>
                </c:pt>
                <c:pt idx="19">
                  <c:v>105</c:v>
                </c:pt>
                <c:pt idx="20">
                  <c:v>103</c:v>
                </c:pt>
                <c:pt idx="21">
                  <c:v>101</c:v>
                </c:pt>
                <c:pt idx="22">
                  <c:v>99</c:v>
                </c:pt>
                <c:pt idx="23">
                  <c:v>100</c:v>
                </c:pt>
                <c:pt idx="24">
                  <c:v>98</c:v>
                </c:pt>
                <c:pt idx="25">
                  <c:v>99</c:v>
                </c:pt>
                <c:pt idx="26">
                  <c:v>101</c:v>
                </c:pt>
                <c:pt idx="27">
                  <c:v>105</c:v>
                </c:pt>
                <c:pt idx="28">
                  <c:v>107</c:v>
                </c:pt>
                <c:pt idx="29">
                  <c:v>110</c:v>
                </c:pt>
                <c:pt idx="30">
                  <c:v>109</c:v>
                </c:pt>
                <c:pt idx="31">
                  <c:v>113</c:v>
                </c:pt>
                <c:pt idx="32">
                  <c:v>114</c:v>
                </c:pt>
                <c:pt idx="33">
                  <c:v>111</c:v>
                </c:pt>
                <c:pt idx="34">
                  <c:v>110</c:v>
                </c:pt>
                <c:pt idx="35">
                  <c:v>112</c:v>
                </c:pt>
                <c:pt idx="36">
                  <c:v>111</c:v>
                </c:pt>
                <c:pt idx="37">
                  <c:v>114</c:v>
                </c:pt>
                <c:pt idx="38">
                  <c:v>115</c:v>
                </c:pt>
                <c:pt idx="39">
                  <c:v>115</c:v>
                </c:pt>
                <c:pt idx="40">
                  <c:v>119</c:v>
                </c:pt>
                <c:pt idx="41">
                  <c:v>122</c:v>
                </c:pt>
                <c:pt idx="42">
                  <c:v>120</c:v>
                </c:pt>
                <c:pt idx="43">
                  <c:v>119</c:v>
                </c:pt>
                <c:pt idx="44">
                  <c:v>122</c:v>
                </c:pt>
                <c:pt idx="45">
                  <c:v>123</c:v>
                </c:pt>
                <c:pt idx="46">
                  <c:v>130</c:v>
                </c:pt>
                <c:pt idx="47">
                  <c:v>137</c:v>
                </c:pt>
                <c:pt idx="48">
                  <c:v>139</c:v>
                </c:pt>
                <c:pt idx="49">
                  <c:v>142</c:v>
                </c:pt>
                <c:pt idx="50">
                  <c:v>145</c:v>
                </c:pt>
                <c:pt idx="51">
                  <c:v>144</c:v>
                </c:pt>
                <c:pt idx="52">
                  <c:v>148</c:v>
                </c:pt>
                <c:pt idx="53">
                  <c:v>153</c:v>
                </c:pt>
                <c:pt idx="54">
                  <c:v>154</c:v>
                </c:pt>
                <c:pt idx="55">
                  <c:v>159</c:v>
                </c:pt>
                <c:pt idx="56">
                  <c:v>162</c:v>
                </c:pt>
                <c:pt idx="57">
                  <c:v>164</c:v>
                </c:pt>
                <c:pt idx="58">
                  <c:v>166</c:v>
                </c:pt>
                <c:pt idx="59">
                  <c:v>168</c:v>
                </c:pt>
                <c:pt idx="60">
                  <c:v>170</c:v>
                </c:pt>
                <c:pt idx="61">
                  <c:v>179</c:v>
                </c:pt>
                <c:pt idx="62">
                  <c:v>185</c:v>
                </c:pt>
                <c:pt idx="63">
                  <c:v>190</c:v>
                </c:pt>
                <c:pt idx="64">
                  <c:v>195</c:v>
                </c:pt>
                <c:pt idx="65">
                  <c:v>197</c:v>
                </c:pt>
                <c:pt idx="66">
                  <c:v>206</c:v>
                </c:pt>
                <c:pt idx="67">
                  <c:v>235</c:v>
                </c:pt>
                <c:pt idx="68">
                  <c:v>241</c:v>
                </c:pt>
                <c:pt idx="69">
                  <c:v>249</c:v>
                </c:pt>
                <c:pt idx="70">
                  <c:v>253</c:v>
                </c:pt>
                <c:pt idx="71">
                  <c:v>259</c:v>
                </c:pt>
                <c:pt idx="72">
                  <c:v>263</c:v>
                </c:pt>
                <c:pt idx="73">
                  <c:v>290</c:v>
                </c:pt>
                <c:pt idx="74">
                  <c:v>330</c:v>
                </c:pt>
                <c:pt idx="75">
                  <c:v>367</c:v>
                </c:pt>
                <c:pt idx="76">
                  <c:v>406</c:v>
                </c:pt>
                <c:pt idx="77">
                  <c:v>437</c:v>
                </c:pt>
                <c:pt idx="78">
                  <c:v>460</c:v>
                </c:pt>
                <c:pt idx="79">
                  <c:v>473</c:v>
                </c:pt>
                <c:pt idx="80">
                  <c:v>521</c:v>
                </c:pt>
                <c:pt idx="81">
                  <c:v>575</c:v>
                </c:pt>
                <c:pt idx="82">
                  <c:v>624</c:v>
                </c:pt>
                <c:pt idx="83">
                  <c:v>647</c:v>
                </c:pt>
                <c:pt idx="84">
                  <c:v>712</c:v>
                </c:pt>
                <c:pt idx="85">
                  <c:v>756</c:v>
                </c:pt>
                <c:pt idx="86">
                  <c:v>785</c:v>
                </c:pt>
                <c:pt idx="87">
                  <c:v>858</c:v>
                </c:pt>
                <c:pt idx="88">
                  <c:v>931</c:v>
                </c:pt>
                <c:pt idx="89">
                  <c:v>992</c:v>
                </c:pt>
                <c:pt idx="90">
                  <c:v>1046</c:v>
                </c:pt>
                <c:pt idx="91">
                  <c:v>1133</c:v>
                </c:pt>
                <c:pt idx="92">
                  <c:v>1161</c:v>
                </c:pt>
                <c:pt idx="93">
                  <c:v>1163</c:v>
                </c:pt>
                <c:pt idx="94">
                  <c:v>1196</c:v>
                </c:pt>
                <c:pt idx="95">
                  <c:v>1268</c:v>
                </c:pt>
                <c:pt idx="96">
                  <c:v>1345</c:v>
                </c:pt>
                <c:pt idx="97">
                  <c:v>1431</c:v>
                </c:pt>
                <c:pt idx="98">
                  <c:v>1493</c:v>
                </c:pt>
                <c:pt idx="99">
                  <c:v>1540</c:v>
                </c:pt>
                <c:pt idx="100">
                  <c:v>1550</c:v>
                </c:pt>
                <c:pt idx="101">
                  <c:v>1537</c:v>
                </c:pt>
                <c:pt idx="102">
                  <c:v>1609</c:v>
                </c:pt>
                <c:pt idx="103">
                  <c:v>1661</c:v>
                </c:pt>
                <c:pt idx="104">
                  <c:v>1707</c:v>
                </c:pt>
                <c:pt idx="105">
                  <c:v>1838</c:v>
                </c:pt>
                <c:pt idx="106">
                  <c:v>1918</c:v>
                </c:pt>
                <c:pt idx="107">
                  <c:v>1965</c:v>
                </c:pt>
                <c:pt idx="108">
                  <c:v>1999</c:v>
                </c:pt>
                <c:pt idx="109">
                  <c:v>2049</c:v>
                </c:pt>
                <c:pt idx="110">
                  <c:v>2090</c:v>
                </c:pt>
                <c:pt idx="111">
                  <c:v>2207</c:v>
                </c:pt>
                <c:pt idx="112">
                  <c:v>2192</c:v>
                </c:pt>
                <c:pt idx="113">
                  <c:v>2240</c:v>
                </c:pt>
                <c:pt idx="114">
                  <c:v>2262</c:v>
                </c:pt>
                <c:pt idx="115">
                  <c:v>2232</c:v>
                </c:pt>
                <c:pt idx="116">
                  <c:v>2216</c:v>
                </c:pt>
                <c:pt idx="117">
                  <c:v>2304</c:v>
                </c:pt>
                <c:pt idx="118">
                  <c:v>2206</c:v>
                </c:pt>
                <c:pt idx="119">
                  <c:v>2141</c:v>
                </c:pt>
                <c:pt idx="120">
                  <c:v>2144</c:v>
                </c:pt>
                <c:pt idx="121">
                  <c:v>2121</c:v>
                </c:pt>
                <c:pt idx="122">
                  <c:v>2039</c:v>
                </c:pt>
                <c:pt idx="123">
                  <c:v>1997</c:v>
                </c:pt>
                <c:pt idx="124">
                  <c:v>1938</c:v>
                </c:pt>
                <c:pt idx="125">
                  <c:v>1872</c:v>
                </c:pt>
                <c:pt idx="126">
                  <c:v>1805</c:v>
                </c:pt>
                <c:pt idx="127">
                  <c:v>1806</c:v>
                </c:pt>
                <c:pt idx="128">
                  <c:v>1781</c:v>
                </c:pt>
                <c:pt idx="129">
                  <c:v>1658</c:v>
                </c:pt>
                <c:pt idx="130">
                  <c:v>1649</c:v>
                </c:pt>
                <c:pt idx="131">
                  <c:v>1614</c:v>
                </c:pt>
                <c:pt idx="132">
                  <c:v>1550</c:v>
                </c:pt>
                <c:pt idx="133">
                  <c:v>1501</c:v>
                </c:pt>
                <c:pt idx="134">
                  <c:v>1498</c:v>
                </c:pt>
                <c:pt idx="135">
                  <c:v>1468</c:v>
                </c:pt>
                <c:pt idx="136">
                  <c:v>1345</c:v>
                </c:pt>
                <c:pt idx="137">
                  <c:v>1284</c:v>
                </c:pt>
                <c:pt idx="138">
                  <c:v>1214</c:v>
                </c:pt>
                <c:pt idx="139">
                  <c:v>1192</c:v>
                </c:pt>
                <c:pt idx="140">
                  <c:v>1108</c:v>
                </c:pt>
                <c:pt idx="141">
                  <c:v>1071</c:v>
                </c:pt>
                <c:pt idx="142">
                  <c:v>1034</c:v>
                </c:pt>
                <c:pt idx="143">
                  <c:v>907</c:v>
                </c:pt>
                <c:pt idx="144">
                  <c:v>903</c:v>
                </c:pt>
                <c:pt idx="145">
                  <c:v>866</c:v>
                </c:pt>
                <c:pt idx="146">
                  <c:v>839</c:v>
                </c:pt>
                <c:pt idx="147">
                  <c:v>826</c:v>
                </c:pt>
                <c:pt idx="148">
                  <c:v>798</c:v>
                </c:pt>
                <c:pt idx="149">
                  <c:v>768</c:v>
                </c:pt>
                <c:pt idx="150">
                  <c:v>734</c:v>
                </c:pt>
                <c:pt idx="151">
                  <c:v>760</c:v>
                </c:pt>
                <c:pt idx="152">
                  <c:v>763</c:v>
                </c:pt>
                <c:pt idx="153">
                  <c:v>793</c:v>
                </c:pt>
                <c:pt idx="154">
                  <c:v>845</c:v>
                </c:pt>
                <c:pt idx="155">
                  <c:v>857</c:v>
                </c:pt>
                <c:pt idx="156">
                  <c:v>852</c:v>
                </c:pt>
                <c:pt idx="157">
                  <c:v>839</c:v>
                </c:pt>
                <c:pt idx="158">
                  <c:v>862</c:v>
                </c:pt>
                <c:pt idx="159">
                  <c:v>893</c:v>
                </c:pt>
                <c:pt idx="160">
                  <c:v>902</c:v>
                </c:pt>
                <c:pt idx="161">
                  <c:v>944</c:v>
                </c:pt>
                <c:pt idx="162">
                  <c:v>986</c:v>
                </c:pt>
                <c:pt idx="163">
                  <c:v>1003</c:v>
                </c:pt>
                <c:pt idx="164">
                  <c:v>1068</c:v>
                </c:pt>
                <c:pt idx="165">
                  <c:v>1195</c:v>
                </c:pt>
                <c:pt idx="166">
                  <c:v>1337</c:v>
                </c:pt>
                <c:pt idx="167">
                  <c:v>1493</c:v>
                </c:pt>
                <c:pt idx="168">
                  <c:v>1534</c:v>
                </c:pt>
                <c:pt idx="169">
                  <c:v>1578</c:v>
                </c:pt>
                <c:pt idx="170">
                  <c:v>1578</c:v>
                </c:pt>
                <c:pt idx="171">
                  <c:v>1673</c:v>
                </c:pt>
                <c:pt idx="172">
                  <c:v>1934</c:v>
                </c:pt>
                <c:pt idx="173">
                  <c:v>2259</c:v>
                </c:pt>
                <c:pt idx="174">
                  <c:v>2326</c:v>
                </c:pt>
                <c:pt idx="175">
                  <c:v>2543</c:v>
                </c:pt>
                <c:pt idx="176">
                  <c:v>2460</c:v>
                </c:pt>
                <c:pt idx="177">
                  <c:v>2447</c:v>
                </c:pt>
                <c:pt idx="178">
                  <c:v>2564</c:v>
                </c:pt>
                <c:pt idx="179">
                  <c:v>2922</c:v>
                </c:pt>
                <c:pt idx="180">
                  <c:v>3131</c:v>
                </c:pt>
                <c:pt idx="181">
                  <c:v>3104</c:v>
                </c:pt>
                <c:pt idx="182">
                  <c:v>30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6.02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8455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2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2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2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2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2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2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6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06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chart" Target="../charts/chart10.xml"/><Relationship Id="rId4" Type="http://schemas.openxmlformats.org/officeDocument/2006/relationships/tags" Target="../tags/tag5.xml"/><Relationship Id="rId9" Type="http://schemas.openxmlformats.org/officeDocument/2006/relationships/notesSlide" Target="../notesSlides/notesSlide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1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chart" Target="../charts/chart12.xml"/><Relationship Id="rId4" Type="http://schemas.openxmlformats.org/officeDocument/2006/relationships/tags" Target="../tags/tag14.xml"/><Relationship Id="rId9" Type="http://schemas.openxmlformats.org/officeDocument/2006/relationships/notesSlide" Target="../notesSlides/notesSlide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chart" Target="../charts/char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chart" Target="../charts/chart14.xml"/><Relationship Id="rId4" Type="http://schemas.openxmlformats.org/officeDocument/2006/relationships/tags" Target="../tags/tag23.xml"/><Relationship Id="rId9" Type="http://schemas.openxmlformats.org/officeDocument/2006/relationships/notesSlide" Target="../notesSlides/notesSlide2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chart" Target="../charts/char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chart" Target="../charts/chart16.xml"/><Relationship Id="rId4" Type="http://schemas.openxmlformats.org/officeDocument/2006/relationships/tags" Target="../tags/tag32.xml"/><Relationship Id="rId9" Type="http://schemas.openxmlformats.org/officeDocument/2006/relationships/notesSlide" Target="../notesSlides/notesSlide2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chart" Target="../charts/chart17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3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4" Type="http://schemas.openxmlformats.org/officeDocument/2006/relationships/chart" Target="../charts/char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8 % a sestry 84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7750315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8950650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4804834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1574797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4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4. 2. 2022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81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/2021 –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4. 2. 2022</a:t>
            </a:r>
          </a:p>
        </p:txBody>
      </p:sp>
    </p:spTree>
    <p:extLst>
      <p:ext uri="{BB962C8B-B14F-4D97-AF65-F5344CB8AC3E}">
        <p14:creationId xmlns:p14="http://schemas.microsoft.com/office/powerpoint/2010/main" val="16462022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/2021 –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4. 2. 2022</a:t>
            </a:r>
          </a:p>
        </p:txBody>
      </p:sp>
    </p:spTree>
    <p:extLst>
      <p:ext uri="{BB962C8B-B14F-4D97-AF65-F5344CB8AC3E}">
        <p14:creationId xmlns:p14="http://schemas.microsoft.com/office/powerpoint/2010/main" val="40201688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02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4. 2. 2022</a:t>
            </a:r>
          </a:p>
        </p:txBody>
      </p:sp>
    </p:spTree>
    <p:extLst>
      <p:ext uri="{BB962C8B-B14F-4D97-AF65-F5344CB8AC3E}">
        <p14:creationId xmlns:p14="http://schemas.microsoft.com/office/powerpoint/2010/main" val="31302752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4. 2. 2022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0173400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379022F3-AFCC-46A2-887F-6D6D3608AD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2673918"/>
              </p:ext>
            </p:extLst>
          </p:nvPr>
        </p:nvGraphicFramePr>
        <p:xfrm>
          <a:off x="1943099" y="1600994"/>
          <a:ext cx="9946013" cy="4555950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1492104503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134814928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789351135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479205330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614500617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42183070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4208381542"/>
                    </a:ext>
                  </a:extLst>
                </a:gridCol>
              </a:tblGrid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5707132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5C8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3C8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3929200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2467402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4828881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8840375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8155760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6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3075573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6370332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4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6743207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231273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0098018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285326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4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383483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2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5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2597700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866190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4. 2. 2022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0941068"/>
              </p:ext>
            </p:extLst>
          </p:nvPr>
        </p:nvGraphicFramePr>
        <p:xfrm>
          <a:off x="302889" y="921878"/>
          <a:ext cx="11586222" cy="5235072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65785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5 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9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 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2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9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 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 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 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2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8 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1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 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 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7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3 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1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 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 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 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 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 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 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 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0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3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 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 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 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 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7 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 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9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4 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87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347 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66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6 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214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28 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148535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C32B7A6-57CA-4D6C-9992-8EF8B41F2C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0663902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262658174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6926783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748942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2994299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28700170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5230131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789472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31033287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7819678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7050709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778810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1837643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8635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24116272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69536547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39798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01471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53803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16315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E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757892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7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59828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050575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C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1186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646755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31950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13244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635942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9794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4. 2. 2022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2572390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66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5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5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2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2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 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5A5251AF-15E8-4461-9F36-355A65D0B9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7757452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209993790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285636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18885264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5355201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3538841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6287354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9379519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8587880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72837957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7922362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09431977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7904148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6547399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7795838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12370577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14120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816608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489738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746921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936729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25279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858113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86856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93184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764033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580378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66604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C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533016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4. 2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AF1561B3-7273-473B-A2DD-A77D8870E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3029566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8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5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8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3E08220F-8F44-4BD9-909C-F0EB21AFE3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3262870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14651645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8569839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707543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32930581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4342744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0699709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1810794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54870207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4761846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35008806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1037532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17137650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01885827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6146839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172704187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143904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3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252374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85750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87405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65936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232120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715383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50083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368487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6635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097542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57343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1129396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 a ve více typech zdravotnických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4. 2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0FC5E21-D439-468C-9A0B-56B392BA28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193643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42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0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3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9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45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4. 2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3 (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3 (3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4 (2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4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5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8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6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4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8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4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0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8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9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3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4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5 (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6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6 (3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8 (4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9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0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1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 (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4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9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5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3 (3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0 (3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7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28 (1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37 (29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05 (29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0 (69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3807903" y="1540420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3990845" y="1371146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3807903" y="1835695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01588" y="1322349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7937756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*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4. 2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723900" y="6567385"/>
            <a:ext cx="4933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4745385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1451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3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0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107070DB-7A5B-419B-A663-E01DC064A02B}"/>
              </a:ext>
            </a:extLst>
          </p:cNvPr>
          <p:cNvSpPr txBox="1"/>
          <p:nvPr/>
        </p:nvSpPr>
        <p:spPr>
          <a:xfrm>
            <a:off x="6095202" y="6093400"/>
            <a:ext cx="609679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000" dirty="0"/>
              <a:t>* Počty aktuálně pozitivních ZP jsou nadhodnocené z důvodu zpoždění v aktualizaci údajů o negativitě/ vyléčení, které u ZP provádí KHS. Odhadovaný počet pravděpodobně již negativních ZP je 92 celkem (19 lékařů, 35 sester, 38 jiných ZP), odhad vychází z počtu aktuálně pozitivních ZP s datem pozitivity starším než 14 dní.</a:t>
            </a:r>
          </a:p>
        </p:txBody>
      </p:sp>
    </p:spTree>
    <p:extLst>
      <p:ext uri="{BB962C8B-B14F-4D97-AF65-F5344CB8AC3E}">
        <p14:creationId xmlns:p14="http://schemas.microsoft.com/office/powerpoint/2010/main" val="5116924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1.–14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1.–21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.–28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.–4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6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34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7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93314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A1A17EB-9ECA-4C24-8912-EF92363C1CE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4009646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otovo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1.–14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1.–21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.–28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.–4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41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72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94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3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041264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AB75CD35-D60A-4842-A868-455961D2CCC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8532046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1.–14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1.–21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.–28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.–4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2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3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82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2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41573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48FC8E2C-EA85-4B60-9865-EAD22E25BEC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1449755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95147" y="69562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4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1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13717" y="23550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57785" y="3112624"/>
            <a:ext cx="1176796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podzimu 2021 vzrostla, a to ve všech profesních skupinách. Celková proočkovanost ZP dosahuje 83,8 % (jen ZP skutečně aktivní ve zdravotnictví). Roste i proočkovanost posilující dávkou. Z pracovníků, kteří na ni mají (časově) nárok, ji dosud absolvovalo 87,5 % lékařů, 77,9 % sester a 73,9 % ostatních NLZP (celkem 78,6 % všech aktivních ZP s nárokem na booster)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2211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1.–14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1.–21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.–28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.–4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7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8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82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0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88015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4BE5097F-0264-4C9E-A8D6-81843C3D57ED}"/>
              </a:ext>
            </a:extLst>
          </p:cNvPr>
          <p:cNvGraphicFramePr>
            <a:graphicFrameLocks noGrp="1"/>
          </p:cNvGraphicFramePr>
          <p:nvPr/>
        </p:nvGraphicFramePr>
        <p:xfrm>
          <a:off x="2349381" y="2270189"/>
          <a:ext cx="9269232" cy="3611820"/>
        </p:xfrm>
        <a:graphic>
          <a:graphicData uri="http://schemas.openxmlformats.org/drawingml/2006/table">
            <a:tbl>
              <a:tblPr/>
              <a:tblGrid>
                <a:gridCol w="772436">
                  <a:extLst>
                    <a:ext uri="{9D8B030D-6E8A-4147-A177-3AD203B41FA5}">
                      <a16:colId xmlns:a16="http://schemas.microsoft.com/office/drawing/2014/main" val="81955549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1586533588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1543311793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3377321830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3104531985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1081974179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180967215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991862797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1641012924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837614895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1107665157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1619295248"/>
                    </a:ext>
                  </a:extLst>
                </a:gridCol>
              </a:tblGrid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A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3397457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2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2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D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513174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3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9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4424323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9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AA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A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6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625519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1793532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6187096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8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155431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2197943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6746579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9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2588145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7779890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A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1441903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4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8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1639149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B6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669823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2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9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56501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4. 2. 2022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ýkaz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 (MZ) 2-01, E (MZ) 3-01 a E (MZ) 4-01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7557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0F4F1788-0C25-46B8-BC58-2CF8C587B69B}"/>
              </a:ext>
            </a:extLst>
          </p:cNvPr>
          <p:cNvGraphicFramePr>
            <a:graphicFrameLocks noGrp="1"/>
          </p:cNvGraphicFramePr>
          <p:nvPr/>
        </p:nvGraphicFramePr>
        <p:xfrm>
          <a:off x="3787774" y="2005806"/>
          <a:ext cx="7347392" cy="3987120"/>
        </p:xfrm>
        <a:graphic>
          <a:graphicData uri="http://schemas.openxmlformats.org/drawingml/2006/table">
            <a:tbl>
              <a:tblPr/>
              <a:tblGrid>
                <a:gridCol w="1836848">
                  <a:extLst>
                    <a:ext uri="{9D8B030D-6E8A-4147-A177-3AD203B41FA5}">
                      <a16:colId xmlns:a16="http://schemas.microsoft.com/office/drawing/2014/main" val="1665889440"/>
                    </a:ext>
                  </a:extLst>
                </a:gridCol>
                <a:gridCol w="1836848">
                  <a:extLst>
                    <a:ext uri="{9D8B030D-6E8A-4147-A177-3AD203B41FA5}">
                      <a16:colId xmlns:a16="http://schemas.microsoft.com/office/drawing/2014/main" val="2788976937"/>
                    </a:ext>
                  </a:extLst>
                </a:gridCol>
                <a:gridCol w="1836848">
                  <a:extLst>
                    <a:ext uri="{9D8B030D-6E8A-4147-A177-3AD203B41FA5}">
                      <a16:colId xmlns:a16="http://schemas.microsoft.com/office/drawing/2014/main" val="1757981956"/>
                    </a:ext>
                  </a:extLst>
                </a:gridCol>
                <a:gridCol w="1836848">
                  <a:extLst>
                    <a:ext uri="{9D8B030D-6E8A-4147-A177-3AD203B41FA5}">
                      <a16:colId xmlns:a16="http://schemas.microsoft.com/office/drawing/2014/main" val="1682641347"/>
                    </a:ext>
                  </a:extLst>
                </a:gridCol>
              </a:tblGrid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3530170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2759501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2921535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901504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364082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2259853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012013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3339653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034276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7636454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9559103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8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8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3302677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1913226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AA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383434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9490208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 (151 / 21 / 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310 / 19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87 / 1 / 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8 (648 / 41 / 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39 / 12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 (141 / 24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 (75 / -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 (255 / 36 / 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4 / 10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77 / 11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45 / -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 (146 / 21 / 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9 / 9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75 / 9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57 / -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(161 / 18 / 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8 / 4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8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18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44 / 8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8 / 3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88 / 8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(54 / -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(160 / 11 / 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5 / 5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59 / 5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29 / -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 (103 / 10 / 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37 / 7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(92 / 8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70 / -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199 / 15 / 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21 / 9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69 / 4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24 / -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14 / 13 / 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9 / 5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9 / 8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(29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07 / 13 / 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6 / 12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(195 / 11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 (119 / 1 / 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5 (390 / 24 / 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44 / 6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 (95 / 11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68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 (207 / 17 / 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14 / 8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 (85 / 7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41 / -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 (140 / 15 / 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(47 / 13 / 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(225 / 20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 (122 / 1 / 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0 (394 / 34 / 4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8 (542 / 124 / 9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2 (1588 / 149 / 6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2 (938 / 3 / 1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92 (3068 / 276 / 28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a 7denní období 29. 1. – 4. 2. 2022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100071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189085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ochranný efekt očkování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C0D3B3-E868-48ED-8B20-E96346203717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9" name="TextovéPole 18">
            <a:extLst>
              <a:ext uri="{FF2B5EF4-FFF2-40B4-BE49-F238E27FC236}">
                <a16:creationId xmlns:a16="http://schemas.microsoft.com/office/drawing/2014/main" id="{04883521-D438-465C-8E22-48104A0E07A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721833" y="1107964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49370A23-7F9F-4A85-AFE5-848B4A2CBD3A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69852096"/>
              </p:ext>
            </p:extLst>
          </p:nvPr>
        </p:nvGraphicFramePr>
        <p:xfrm>
          <a:off x="9954448" y="579624"/>
          <a:ext cx="2128222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128222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</a:t>
                      </a:r>
                    </a:p>
                    <a:p>
                      <a:r>
                        <a:rPr lang="cs-CZ" sz="1600" dirty="0"/>
                        <a:t>nedokončené očkování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C2294A7-CDFC-4EAE-9080-CF8B23234E4F}"/>
              </a:ext>
            </a:extLst>
          </p:cNvPr>
          <p:cNvGrpSpPr/>
          <p:nvPr/>
        </p:nvGrpSpPr>
        <p:grpSpPr>
          <a:xfrm>
            <a:off x="9452933" y="1218878"/>
            <a:ext cx="501515" cy="1254265"/>
            <a:chOff x="8290713" y="1759987"/>
            <a:chExt cx="501515" cy="1250887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995AB6EC-4544-4177-977C-EA0C372F1DB1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AA7F9A3C-8C95-4193-B7D7-B7974F78FE12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40E96FF7-ED34-4A1F-A012-93F7AB44FB98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9477340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ZP celkem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35052" y="584090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4C813269-00DE-42CD-868F-1A8124E15D9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74256" y="495959"/>
          <a:ext cx="11145281" cy="4771466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4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0.5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9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9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7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4.0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9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2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.6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415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6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4.8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2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94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2.1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5.5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39644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d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34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9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0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5.4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8.5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no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29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0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6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5.3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4.9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824829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9AE174D0-6698-4842-89D9-1FEEEAE58C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6838" y="5308992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9. 1. 2022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49BE471-0E2C-462B-8FF7-F5902000E2F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62533" y="5503310"/>
            <a:ext cx="117652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. Avšak posilující dávka vrátila na konci roku 2021 ochranu proti nákaze zpět nad hodnotu 85%. Aktuální ochranný efekt posíleného očkování proti nákaze je cca 55%. 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52534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4. 2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188876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27676BE-FED5-4891-A49E-5B33074F0EA5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407510" y="1169485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245294" y="6380943"/>
            <a:ext cx="11946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452296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4291609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4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4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1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5 6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5 0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8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4. 2. 2022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4. 2. 2022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3230661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1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3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0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5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 0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4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1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4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r>
              <a:rPr lang="cs-CZ" sz="900" dirty="0"/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23168986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</a:t>
            </a:r>
            <a:r>
              <a:rPr lang="cs-CZ" b="1" dirty="0">
                <a:solidFill>
                  <a:srgbClr val="FFFFFF"/>
                </a:solidFill>
              </a:rPr>
              <a:t>4. 2. 2022</a:t>
            </a:r>
            <a:endParaRPr lang="cs-CZ" b="1" dirty="0">
              <a:solidFill>
                <a:schemeClr val="bg1"/>
              </a:solidFill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lang="pl-PL" sz="1100" dirty="0"/>
              <a:t>v období od 1.9.2021 do současnosti </a:t>
            </a:r>
            <a:r>
              <a:rPr lang="cs-CZ" sz="1100" dirty="0"/>
              <a:t>(v ambulantním sektoru mohou být tyto počty mírně nedohlášené). 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* Přeočkování posilující dávkou je možné pro osoby, které mají nejméně 6 měsíců (v této analýze 182 dnů) po aplikaci ukončovací (druhé) dávky.</a:t>
            </a:r>
          </a:p>
          <a:p>
            <a:r>
              <a:rPr lang="cs-CZ" sz="1100" dirty="0"/>
              <a:t>** Jeden zdravotnický pracovník může působit ve více krajích, do celkového počtu je zahrnut pouze jednou. </a:t>
            </a:r>
          </a:p>
        </p:txBody>
      </p:sp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300A08B3-B18A-4DE9-97BC-1912730507AF}"/>
              </a:ext>
            </a:extLst>
          </p:cNvPr>
          <p:cNvGraphicFramePr>
            <a:graphicFrameLocks noGrp="1"/>
          </p:cNvGraphicFramePr>
          <p:nvPr/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1001822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82608376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41392143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067111112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6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8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5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4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0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5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 7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 5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9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5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 7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4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39642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4. 2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6579048-BB0C-4A41-91BF-EE6AEF0D2553}"/>
              </a:ext>
            </a:extLst>
          </p:cNvPr>
          <p:cNvGraphicFramePr>
            <a:graphicFrameLocks noGrp="1"/>
          </p:cNvGraphicFramePr>
          <p:nvPr/>
        </p:nvGraphicFramePr>
        <p:xfrm>
          <a:off x="337535" y="1200434"/>
          <a:ext cx="11516932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104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ukončova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108 (88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438 (73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40 (14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 (0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6 (3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29 (8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359 (83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 742 (59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786 (23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1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82 (8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55 (7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082 (81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401 (54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970 (25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1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93 (9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13 (9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05 (79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51 (54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32 (24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5 (8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4 (11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4 (8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9 (52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9 (27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(1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8 (10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1 (8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74 (82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150 (54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15 (26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53 (9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9 (8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5 (86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65 (65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7 (2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(0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9 (6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8 (6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07 (76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96 (49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1 (26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5 (11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5 (12,3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36 (82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19 (55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7 (26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(0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35 (9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1 (8,3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00 (8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19 (54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38 (26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 (0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5 (8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2 (9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549 (83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1 581 (6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6 196 (22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 772 (0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 031 (7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 497 (8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18953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4. 2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/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/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5 2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2 4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2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 8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6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0 0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5517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86</TotalTime>
  <Words>9615</Words>
  <Application>Microsoft Office PowerPoint</Application>
  <PresentationFormat>Širokoúhlá obrazovka</PresentationFormat>
  <Paragraphs>2119</Paragraphs>
  <Slides>38</Slides>
  <Notes>27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38</vt:i4>
      </vt:variant>
    </vt:vector>
  </HeadingPairs>
  <TitlesOfParts>
    <vt:vector size="44" baseType="lpstr">
      <vt:lpstr>Calibri</vt:lpstr>
      <vt:lpstr>Arial</vt:lpstr>
      <vt:lpstr>Calibri Light</vt:lpstr>
      <vt:lpstr>Motiv Office</vt:lpstr>
      <vt:lpstr>3_Motiv Office</vt:lpstr>
      <vt:lpstr>1_Motiv Office</vt:lpstr>
      <vt:lpstr>Prezentace aplikace PowerPoint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/2021 – 01/2022</vt:lpstr>
      <vt:lpstr>Přehled povolání u COVID-19 pozitivních ostatních zdravotnických pracovníků za období 10/2021 – 01/2022</vt:lpstr>
      <vt:lpstr>Přehled povolání u COVID-19 pozitivních ostatních zdravotnických pracovníků za období 01-02/2022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et nových případů COVID-19 na 100 tis. dané kategorie v populaci ZP celkem </vt:lpstr>
      <vt:lpstr>Prezentace aplikace PowerPoint</vt:lpstr>
      <vt:lpstr>Prezentace aplikace PowerPoint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851</cp:revision>
  <dcterms:created xsi:type="dcterms:W3CDTF">2020-11-11T17:36:28Z</dcterms:created>
  <dcterms:modified xsi:type="dcterms:W3CDTF">2022-02-06T18:11:07Z</dcterms:modified>
</cp:coreProperties>
</file>